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8" r:id="rId4"/>
  </p:sldMasterIdLst>
  <p:notesMasterIdLst>
    <p:notesMasterId r:id="rId6"/>
  </p:notesMasterIdLst>
  <p:handoutMasterIdLst>
    <p:handoutMasterId r:id="rId7"/>
  </p:handoutMasterIdLst>
  <p:sldIdLst>
    <p:sldId id="434" r:id="rId5"/>
  </p:sldIdLst>
  <p:sldSz cx="9906000" cy="6858000" type="A4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49" userDrawn="1">
          <p15:clr>
            <a:srgbClr val="A4A3A4"/>
          </p15:clr>
        </p15:guide>
        <p15:guide id="2" orient="horz" pos="935" userDrawn="1">
          <p15:clr>
            <a:srgbClr val="A4A3A4"/>
          </p15:clr>
        </p15:guide>
        <p15:guide id="3" orient="horz" pos="527" userDrawn="1">
          <p15:clr>
            <a:srgbClr val="A4A3A4"/>
          </p15:clr>
        </p15:guide>
        <p15:guide id="4" orient="horz" pos="4269" userDrawn="1">
          <p15:clr>
            <a:srgbClr val="A4A3A4"/>
          </p15:clr>
        </p15:guide>
        <p15:guide id="5" orient="horz" pos="2772" userDrawn="1">
          <p15:clr>
            <a:srgbClr val="A4A3A4"/>
          </p15:clr>
        </p15:guide>
        <p15:guide id="6" orient="horz" pos="3748" userDrawn="1">
          <p15:clr>
            <a:srgbClr val="A4A3A4"/>
          </p15:clr>
        </p15:guide>
        <p15:guide id="7" orient="horz" pos="4201" userDrawn="1">
          <p15:clr>
            <a:srgbClr val="A4A3A4"/>
          </p15:clr>
        </p15:guide>
        <p15:guide id="8" orient="horz" pos="3929" userDrawn="1">
          <p15:clr>
            <a:srgbClr val="A4A3A4"/>
          </p15:clr>
        </p15:guide>
        <p15:guide id="9" orient="horz" pos="4110" userDrawn="1">
          <p15:clr>
            <a:srgbClr val="A4A3A4"/>
          </p15:clr>
        </p15:guide>
        <p15:guide id="10" pos="451" userDrawn="1">
          <p15:clr>
            <a:srgbClr val="A4A3A4"/>
          </p15:clr>
        </p15:guide>
        <p15:guide id="11" pos="3120" userDrawn="1">
          <p15:clr>
            <a:srgbClr val="A4A3A4"/>
          </p15:clr>
        </p15:guide>
        <p15:guide id="12" pos="5910" userDrawn="1">
          <p15:clr>
            <a:srgbClr val="A4A3A4"/>
          </p15:clr>
        </p15:guide>
        <p15:guide id="13" pos="4730" userDrawn="1">
          <p15:clr>
            <a:srgbClr val="A4A3A4"/>
          </p15:clr>
        </p15:guide>
        <p15:guide id="14" pos="308" userDrawn="1">
          <p15:clr>
            <a:srgbClr val="A4A3A4"/>
          </p15:clr>
        </p15:guide>
        <p15:guide id="15" pos="4390" userDrawn="1">
          <p15:clr>
            <a:srgbClr val="A4A3A4"/>
          </p15:clr>
        </p15:guide>
        <p15:guide id="16" pos="57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rice Schumesch" initials="PS" lastIdx="13" clrIdx="0">
    <p:extLst>
      <p:ext uri="{19B8F6BF-5375-455C-9EA6-DF929625EA0E}">
        <p15:presenceInfo xmlns:p15="http://schemas.microsoft.com/office/powerpoint/2012/main" userId="S-1-5-21-1471047708-1026687513-316617838-563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F83"/>
    <a:srgbClr val="FFFFFF"/>
    <a:srgbClr val="CC3300"/>
    <a:srgbClr val="262729"/>
    <a:srgbClr val="575759"/>
    <a:srgbClr val="636363"/>
    <a:srgbClr val="000000"/>
    <a:srgbClr val="653165"/>
    <a:srgbClr val="8FAD15"/>
    <a:srgbClr val="00B5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08" autoAdjust="0"/>
    <p:restoredTop sz="96349" autoAdjust="0"/>
  </p:normalViewPr>
  <p:slideViewPr>
    <p:cSldViewPr snapToGrid="0" snapToObjects="1">
      <p:cViewPr varScale="1">
        <p:scale>
          <a:sx n="88" d="100"/>
          <a:sy n="88" d="100"/>
        </p:scale>
        <p:origin x="350" y="67"/>
      </p:cViewPr>
      <p:guideLst>
        <p:guide orient="horz" pos="1049"/>
        <p:guide orient="horz" pos="935"/>
        <p:guide orient="horz" pos="527"/>
        <p:guide orient="horz" pos="4269"/>
        <p:guide orient="horz" pos="2772"/>
        <p:guide orient="horz" pos="3748"/>
        <p:guide orient="horz" pos="4201"/>
        <p:guide orient="horz" pos="3929"/>
        <p:guide orient="horz" pos="4110"/>
        <p:guide pos="451"/>
        <p:guide pos="3120"/>
        <p:guide pos="5910"/>
        <p:guide pos="4730"/>
        <p:guide pos="308"/>
        <p:guide pos="4390"/>
        <p:guide pos="5705"/>
      </p:guideLst>
    </p:cSldViewPr>
  </p:slideViewPr>
  <p:outlineViewPr>
    <p:cViewPr>
      <p:scale>
        <a:sx n="33" d="100"/>
        <a:sy n="33" d="100"/>
      </p:scale>
      <p:origin x="0" y="-567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8" d="100"/>
          <a:sy n="88" d="100"/>
        </p:scale>
        <p:origin x="-3720" y="-126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659" cy="496332"/>
          </a:xfrm>
          <a:prstGeom prst="rect">
            <a:avLst/>
          </a:prstGeom>
        </p:spPr>
        <p:txBody>
          <a:bodyPr vert="horz" lIns="95544" tIns="47773" rIns="95544" bIns="47773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3"/>
            <a:ext cx="2945659" cy="496332"/>
          </a:xfrm>
          <a:prstGeom prst="rect">
            <a:avLst/>
          </a:prstGeom>
        </p:spPr>
        <p:txBody>
          <a:bodyPr vert="horz" lIns="95544" tIns="47773" rIns="95544" bIns="47773" rtlCol="0"/>
          <a:lstStyle>
            <a:lvl1pPr algn="r">
              <a:defRPr sz="1300"/>
            </a:lvl1pPr>
          </a:lstStyle>
          <a:p>
            <a:fld id="{9826C64F-84FD-9D42-A26E-FCAA94408A3A}" type="datetime1">
              <a:rPr lang="en-US" smtClean="0"/>
              <a:t>09/1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6"/>
            <a:ext cx="2945659" cy="496332"/>
          </a:xfrm>
          <a:prstGeom prst="rect">
            <a:avLst/>
          </a:prstGeom>
        </p:spPr>
        <p:txBody>
          <a:bodyPr vert="horz" lIns="95544" tIns="47773" rIns="95544" bIns="47773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6"/>
            <a:ext cx="2945659" cy="496332"/>
          </a:xfrm>
          <a:prstGeom prst="rect">
            <a:avLst/>
          </a:prstGeom>
        </p:spPr>
        <p:txBody>
          <a:bodyPr vert="horz" lIns="95544" tIns="47773" rIns="95544" bIns="47773" rtlCol="0" anchor="b"/>
          <a:lstStyle>
            <a:lvl1pPr algn="r">
              <a:defRPr sz="1300"/>
            </a:lvl1pPr>
          </a:lstStyle>
          <a:p>
            <a:fld id="{AE9301C6-3DA6-5D4C-AFD8-5932A40E0E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85834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659" cy="496332"/>
          </a:xfrm>
          <a:prstGeom prst="rect">
            <a:avLst/>
          </a:prstGeom>
        </p:spPr>
        <p:txBody>
          <a:bodyPr vert="horz" lIns="95544" tIns="47773" rIns="95544" bIns="47773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3"/>
            <a:ext cx="2945659" cy="496332"/>
          </a:xfrm>
          <a:prstGeom prst="rect">
            <a:avLst/>
          </a:prstGeom>
        </p:spPr>
        <p:txBody>
          <a:bodyPr vert="horz" lIns="95544" tIns="47773" rIns="95544" bIns="47773" rtlCol="0"/>
          <a:lstStyle>
            <a:lvl1pPr algn="r">
              <a:defRPr sz="1300"/>
            </a:lvl1pPr>
          </a:lstStyle>
          <a:p>
            <a:fld id="{1046E2B7-3FA7-3147-8D88-3668B3B663DE}" type="datetime1">
              <a:rPr lang="en-US" smtClean="0"/>
              <a:t>09/1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44" tIns="47773" rIns="95544" bIns="4777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5544" tIns="47773" rIns="95544" bIns="47773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6"/>
            <a:ext cx="2945659" cy="496332"/>
          </a:xfrm>
          <a:prstGeom prst="rect">
            <a:avLst/>
          </a:prstGeom>
        </p:spPr>
        <p:txBody>
          <a:bodyPr vert="horz" lIns="95544" tIns="47773" rIns="95544" bIns="47773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6"/>
            <a:ext cx="2945659" cy="496332"/>
          </a:xfrm>
          <a:prstGeom prst="rect">
            <a:avLst/>
          </a:prstGeom>
        </p:spPr>
        <p:txBody>
          <a:bodyPr vert="horz" lIns="95544" tIns="47773" rIns="95544" bIns="47773" rtlCol="0" anchor="b"/>
          <a:lstStyle>
            <a:lvl1pPr algn="r">
              <a:defRPr sz="1300"/>
            </a:lvl1pPr>
          </a:lstStyle>
          <a:p>
            <a:fld id="{724CA2DB-581E-4848-9114-B50C4CE2021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3269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lide - black">
    <p:bg>
      <p:bgPr>
        <a:solidFill>
          <a:srgbClr val="2627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3327318"/>
            <a:ext cx="9906000" cy="1301537"/>
          </a:xfrm>
          <a:prstGeom prst="rect">
            <a:avLst/>
          </a:prstGeom>
          <a:solidFill>
            <a:srgbClr val="CF142B"/>
          </a:solidFill>
          <a:ln>
            <a:noFill/>
          </a:ln>
          <a:extLst/>
        </p:spPr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82000" y="3491508"/>
            <a:ext cx="8135088" cy="481794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ts val="4000"/>
              </a:lnSpc>
              <a:buFontTx/>
              <a:buNone/>
              <a:defRPr sz="3600" cap="all" baseline="0">
                <a:solidFill>
                  <a:srgbClr val="FFFFFF"/>
                </a:solidFill>
                <a:latin typeface="DejaVu Serif" panose="02060603050605020204" pitchFamily="18" charset="0"/>
                <a:ea typeface="DejaVu Serif" panose="02060603050605020204" pitchFamily="18" charset="0"/>
                <a:cs typeface="DejaVu Serif" panose="02060603050605020204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82000" y="4053935"/>
            <a:ext cx="8135088" cy="41356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0" algn="l">
              <a:buNone/>
              <a:defRPr sz="2400" b="0">
                <a:solidFill>
                  <a:srgbClr val="FFFFFF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3951" y="446400"/>
            <a:ext cx="4722049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61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397" userDrawn="1">
          <p15:clr>
            <a:srgbClr val="FBAE40"/>
          </p15:clr>
        </p15:guide>
        <p15:guide id="3" pos="557" userDrawn="1">
          <p15:clr>
            <a:srgbClr val="FBAE40"/>
          </p15:clr>
        </p15:guide>
        <p15:guide id="4" pos="5913" userDrawn="1">
          <p15:clr>
            <a:srgbClr val="FBAE40"/>
          </p15:clr>
        </p15:guide>
        <p15:guide id="5" orient="horz" pos="282" userDrawn="1">
          <p15:clr>
            <a:srgbClr val="FBAE40"/>
          </p15:clr>
        </p15:guide>
        <p15:guide id="6" orient="horz" pos="112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and image LH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108662" y="1602000"/>
            <a:ext cx="4290000" cy="44178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smtClean="0"/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791192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495300" y="1602000"/>
            <a:ext cx="2667600" cy="441960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smtClean="0"/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5"/>
          </p:nvPr>
        </p:nvSpPr>
        <p:spPr>
          <a:xfrm>
            <a:off x="3619200" y="1602000"/>
            <a:ext cx="2667600" cy="441960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smtClean="0"/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6"/>
          </p:nvPr>
        </p:nvSpPr>
        <p:spPr>
          <a:xfrm>
            <a:off x="6743100" y="1602000"/>
            <a:ext cx="2667600" cy="441960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99899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26"/>
          </p:nvPr>
        </p:nvSpPr>
        <p:spPr>
          <a:xfrm>
            <a:off x="6743100" y="1600198"/>
            <a:ext cx="2667600" cy="441960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44075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7"/>
          </p:nvPr>
        </p:nvSpPr>
        <p:spPr>
          <a:xfrm>
            <a:off x="495300" y="1602000"/>
            <a:ext cx="5796000" cy="442118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6"/>
          </p:nvPr>
        </p:nvSpPr>
        <p:spPr>
          <a:xfrm>
            <a:off x="6743100" y="1602000"/>
            <a:ext cx="2667600" cy="441960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10568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emphasi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495300" y="1600200"/>
            <a:ext cx="2667600" cy="180975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5"/>
          </p:nvPr>
        </p:nvSpPr>
        <p:spPr>
          <a:xfrm>
            <a:off x="3619200" y="1600200"/>
            <a:ext cx="2667600" cy="4419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smtClean="0"/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6"/>
          </p:nvPr>
        </p:nvSpPr>
        <p:spPr>
          <a:xfrm>
            <a:off x="6743100" y="1600200"/>
            <a:ext cx="2667600" cy="180975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smtClean="0"/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7"/>
          </p:nvPr>
        </p:nvSpPr>
        <p:spPr>
          <a:xfrm>
            <a:off x="495300" y="4109170"/>
            <a:ext cx="2667600" cy="191063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smtClean="0"/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8"/>
          </p:nvPr>
        </p:nvSpPr>
        <p:spPr>
          <a:xfrm>
            <a:off x="6743100" y="4109170"/>
            <a:ext cx="2667600" cy="191063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smtClean="0"/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830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62182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95301" y="1926000"/>
            <a:ext cx="8905081" cy="305752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>
              <a:defRPr lang="en-GB" dirty="0" smtClean="0"/>
            </a:lvl1pPr>
            <a:lvl2pPr algn="ctr">
              <a:defRPr lang="en-GB" dirty="0" smtClean="0"/>
            </a:lvl2pPr>
            <a:lvl3pPr algn="ctr">
              <a:defRPr lang="en-GB" dirty="0" smtClean="0"/>
            </a:lvl3pPr>
            <a:lvl4pPr algn="ctr">
              <a:defRPr lang="en-GB" dirty="0" smtClean="0"/>
            </a:lvl4pPr>
            <a:lvl5pPr algn="ctr"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0" y="6498000"/>
            <a:ext cx="9906000" cy="360000"/>
          </a:xfrm>
          <a:prstGeom prst="rect">
            <a:avLst/>
          </a:prstGeom>
          <a:solidFill>
            <a:srgbClr val="CF142B"/>
          </a:solidFill>
          <a:ln>
            <a:noFill/>
          </a:ln>
          <a:extLst/>
        </p:spPr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65823" y="5251671"/>
            <a:ext cx="3662779" cy="103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7832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82000" y="3491508"/>
            <a:ext cx="8135088" cy="481794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ts val="4000"/>
              </a:lnSpc>
              <a:buFontTx/>
              <a:buNone/>
              <a:defRPr sz="3600" cap="all" baseline="0">
                <a:solidFill>
                  <a:schemeClr val="bg2"/>
                </a:solidFill>
                <a:latin typeface="DejaVu Serif" panose="02060603050605020204" pitchFamily="18" charset="0"/>
                <a:ea typeface="DejaVu Serif" panose="02060603050605020204" pitchFamily="18" charset="0"/>
                <a:cs typeface="DejaVu Serif" panose="02060603050605020204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82000" y="4053935"/>
            <a:ext cx="8135088" cy="41356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0" algn="l">
              <a:buNone/>
              <a:defRPr sz="2400" b="0">
                <a:solidFill>
                  <a:srgbClr val="000000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498000"/>
            <a:ext cx="9906000" cy="360000"/>
          </a:xfrm>
          <a:prstGeom prst="rect">
            <a:avLst/>
          </a:prstGeom>
          <a:solidFill>
            <a:srgbClr val="CF142B"/>
          </a:solidFill>
          <a:ln>
            <a:noFill/>
          </a:ln>
          <a:extLst/>
        </p:spPr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3951" y="446400"/>
            <a:ext cx="4722049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621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705">
          <p15:clr>
            <a:srgbClr val="FBAE40"/>
          </p15:clr>
        </p15:guide>
        <p15:guide id="3" pos="55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456718"/>
            <a:ext cx="5853245" cy="1294667"/>
          </a:xfrm>
        </p:spPr>
        <p:txBody>
          <a:bodyPr lIns="0" tIns="0" rIns="0" bIns="0" anchor="t"/>
          <a:lstStyle>
            <a:lvl1pPr marL="0" indent="0" algn="l">
              <a:lnSpc>
                <a:spcPts val="4400"/>
              </a:lnSpc>
              <a:buNone/>
              <a:defRPr sz="3600" b="1" cap="all" normalizeH="0" baseline="0">
                <a:solidFill>
                  <a:srgbClr val="FF0000"/>
                </a:solidFill>
                <a:latin typeface="+mj-lt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3890232"/>
            <a:ext cx="8420100" cy="150018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400"/>
              </a:lnSpc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0771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95300" y="1602000"/>
            <a:ext cx="8928000" cy="4327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buClr>
                <a:schemeClr val="bg2"/>
              </a:buClr>
              <a:defRPr lang="en-US" dirty="0" smtClean="0"/>
            </a:lvl3pPr>
            <a:lvl4pPr>
              <a:buClr>
                <a:schemeClr val="bg2"/>
              </a:buClr>
              <a:defRPr lang="en-US" dirty="0" smtClean="0"/>
            </a:lvl4pPr>
            <a:lvl5pPr>
              <a:buClr>
                <a:schemeClr val="bg2"/>
              </a:buClr>
              <a:defRPr lang="en-US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916872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2627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95299" y="1602000"/>
            <a:ext cx="4201200" cy="44243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  <a:lvl2pPr>
              <a:lnSpc>
                <a:spcPts val="2000"/>
              </a:lnSpc>
              <a:buClr>
                <a:schemeClr val="bg1"/>
              </a:buClr>
              <a:defRPr>
                <a:solidFill>
                  <a:srgbClr val="FFFFFF"/>
                </a:solidFill>
              </a:defRPr>
            </a:lvl2pPr>
            <a:lvl3pPr>
              <a:lnSpc>
                <a:spcPts val="2000"/>
              </a:lnSpc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lnSpc>
                <a:spcPts val="2000"/>
              </a:lnSpc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>
              <a:lnSpc>
                <a:spcPts val="2000"/>
              </a:lnSpc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197462" y="1602000"/>
            <a:ext cx="4201200" cy="44243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  <a:lvl2pPr>
              <a:lnSpc>
                <a:spcPts val="2000"/>
              </a:lnSpc>
              <a:buClr>
                <a:schemeClr val="bg1"/>
              </a:buClr>
              <a:defRPr>
                <a:solidFill>
                  <a:srgbClr val="FFFFFF"/>
                </a:solidFill>
              </a:defRPr>
            </a:lvl2pPr>
            <a:lvl3pPr>
              <a:lnSpc>
                <a:spcPts val="2000"/>
              </a:lnSpc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lnSpc>
                <a:spcPts val="2000"/>
              </a:lnSpc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>
              <a:lnSpc>
                <a:spcPts val="2000"/>
              </a:lnSpc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39388"/>
            <a:ext cx="8903362" cy="6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88913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95299" y="1602000"/>
            <a:ext cx="4329000" cy="4424362"/>
          </a:xfrm>
          <a:prstGeom prst="rect">
            <a:avLst/>
          </a:prstGeom>
        </p:spPr>
        <p:txBody>
          <a:bodyPr/>
          <a:lstStyle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069662" y="1602000"/>
            <a:ext cx="4329000" cy="4424362"/>
          </a:xfrm>
          <a:prstGeom prst="rect">
            <a:avLst/>
          </a:prstGeom>
        </p:spPr>
        <p:txBody>
          <a:bodyPr/>
          <a:lstStyle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40235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44934" y="1602000"/>
            <a:ext cx="3618500" cy="17208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[ ]%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787874" y="3154563"/>
            <a:ext cx="3086382" cy="1044426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575759"/>
                </a:solidFill>
                <a:latin typeface="DejaVu Serif" panose="02060603050605020204" pitchFamily="18" charset="0"/>
                <a:ea typeface="DejaVu Serif" panose="02060603050605020204" pitchFamily="18" charset="0"/>
                <a:cs typeface="DejaVu Serif" panose="02060603050605020204" pitchFamily="18" charset="0"/>
              </a:defRPr>
            </a:lvl1pPr>
            <a:lvl2pPr>
              <a:buClr>
                <a:schemeClr val="bg1"/>
              </a:buClr>
              <a:defRPr>
                <a:solidFill>
                  <a:schemeClr val="accent5"/>
                </a:solidFill>
                <a:latin typeface="DejaVu Serif" panose="02060603050605020204" pitchFamily="18" charset="0"/>
                <a:ea typeface="DejaVu Serif" panose="02060603050605020204" pitchFamily="18" charset="0"/>
                <a:cs typeface="DejaVu Serif" panose="02060603050605020204" pitchFamily="18" charset="0"/>
              </a:defRPr>
            </a:lvl2pPr>
            <a:lvl3pPr>
              <a:defRPr>
                <a:solidFill>
                  <a:schemeClr val="accent5"/>
                </a:solidFill>
                <a:latin typeface="DejaVu Serif" panose="02060603050605020204" pitchFamily="18" charset="0"/>
                <a:ea typeface="DejaVu Serif" panose="02060603050605020204" pitchFamily="18" charset="0"/>
                <a:cs typeface="DejaVu Serif" panose="02060603050605020204" pitchFamily="18" charset="0"/>
              </a:defRPr>
            </a:lvl3pPr>
            <a:lvl4pPr>
              <a:defRPr>
                <a:solidFill>
                  <a:schemeClr val="accent5"/>
                </a:solidFill>
                <a:latin typeface="DejaVu Serif" panose="02060603050605020204" pitchFamily="18" charset="0"/>
                <a:ea typeface="DejaVu Serif" panose="02060603050605020204" pitchFamily="18" charset="0"/>
                <a:cs typeface="DejaVu Serif" panose="02060603050605020204" pitchFamily="18" charset="0"/>
              </a:defRPr>
            </a:lvl4pPr>
            <a:lvl5pPr>
              <a:defRPr>
                <a:solidFill>
                  <a:schemeClr val="accent5"/>
                </a:solidFill>
                <a:latin typeface="DejaVu Serif" panose="02060603050605020204" pitchFamily="18" charset="0"/>
                <a:ea typeface="DejaVu Serif" panose="02060603050605020204" pitchFamily="18" charset="0"/>
                <a:cs typeface="DejaVu Serif" panose="02060603050605020204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970662" y="1602000"/>
            <a:ext cx="4428000" cy="262005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39388"/>
            <a:ext cx="8903362" cy="6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495300" y="1837267"/>
            <a:ext cx="86777" cy="2361722"/>
          </a:xfrm>
          <a:prstGeom prst="rect">
            <a:avLst/>
          </a:prstGeom>
          <a:solidFill>
            <a:srgbClr val="005F83"/>
          </a:solidFill>
          <a:ln>
            <a:noFill/>
          </a:ln>
          <a:extLst/>
        </p:spPr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65236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95299" y="1602000"/>
            <a:ext cx="4329000" cy="442436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069662" y="1602000"/>
            <a:ext cx="4329000" cy="442436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GB" smtClean="0"/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17823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and image RH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95300" y="1602000"/>
            <a:ext cx="4289425" cy="4418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916275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123442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539388"/>
            <a:ext cx="8903362" cy="69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436604" y="6372000"/>
            <a:ext cx="245232" cy="365125"/>
          </a:xfrm>
          <a:prstGeom prst="rect">
            <a:avLst/>
          </a:prstGeom>
        </p:spPr>
        <p:txBody>
          <a:bodyPr vert="horz" lIns="0" tIns="46800" rIns="0" bIns="46800" rtlCol="0" anchor="b"/>
          <a:lstStyle>
            <a:lvl1pPr algn="r">
              <a:defRPr sz="900" b="1" i="0">
                <a:solidFill>
                  <a:srgbClr val="000000"/>
                </a:solidFill>
                <a:latin typeface="DejaVu Serif"/>
                <a:cs typeface="DejaVu Serif"/>
              </a:defRPr>
            </a:lvl1pPr>
          </a:lstStyle>
          <a:p>
            <a:pPr algn="l"/>
            <a:fld id="{B4E91B32-A1B8-4F48-9F40-4B12F7C17A7E}" type="slidenum">
              <a:rPr lang="en-US" smtClean="0"/>
              <a:pPr algn="l"/>
              <a:t>‹#›</a:t>
            </a:fld>
            <a:r>
              <a:rPr lang="en-US" dirty="0"/>
              <a:t> 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9360401" y="6561211"/>
            <a:ext cx="11700" cy="126000"/>
          </a:xfrm>
          <a:prstGeom prst="rect">
            <a:avLst/>
          </a:prstGeom>
          <a:solidFill>
            <a:srgbClr val="CF142B"/>
          </a:solidFill>
          <a:ln w="28575" cap="flat" cmpd="sng">
            <a:noFill/>
            <a:round/>
            <a:headEnd type="none" w="med" len="med"/>
            <a:tailEnd type="none" w="med" len="med"/>
          </a:ln>
          <a:extLst/>
        </p:spPr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41400" y="6375601"/>
            <a:ext cx="8246532" cy="365125"/>
          </a:xfrm>
          <a:prstGeom prst="rect">
            <a:avLst/>
          </a:prstGeom>
        </p:spPr>
        <p:txBody>
          <a:bodyPr vert="horz" lIns="0" tIns="46800" rIns="0" bIns="46800" rtlCol="0" anchor="b"/>
          <a:lstStyle>
            <a:lvl1pPr>
              <a:defRPr lang="en-GB" sz="850" b="0" i="0" kern="1200" dirty="0">
                <a:solidFill>
                  <a:srgbClr val="000000"/>
                </a:solidFill>
                <a:latin typeface="DejaVu Serif"/>
                <a:ea typeface="+mn-ea"/>
                <a:cs typeface="DejaVu Serif"/>
              </a:defRPr>
            </a:lvl1pPr>
          </a:lstStyle>
          <a:p>
            <a:pPr algn="r"/>
            <a:r>
              <a:rPr lang="en-US"/>
              <a:t>Facilitation of PPPs in VE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2000"/>
            <a:ext cx="89028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1116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709" r:id="rId2"/>
    <p:sldLayoutId id="2147483691" r:id="rId3"/>
    <p:sldLayoutId id="2147483690" r:id="rId4"/>
    <p:sldLayoutId id="2147483705" r:id="rId5"/>
    <p:sldLayoutId id="2147483710" r:id="rId6"/>
    <p:sldLayoutId id="2147483712" r:id="rId7"/>
    <p:sldLayoutId id="2147483711" r:id="rId8"/>
    <p:sldLayoutId id="2147483703" r:id="rId9"/>
    <p:sldLayoutId id="2147483714" r:id="rId10"/>
    <p:sldLayoutId id="2147483707" r:id="rId11"/>
    <p:sldLayoutId id="2147483715" r:id="rId12"/>
    <p:sldLayoutId id="2147483713" r:id="rId13"/>
    <p:sldLayoutId id="2147483706" r:id="rId14"/>
    <p:sldLayoutId id="2147483695" r:id="rId15"/>
    <p:sldLayoutId id="2147483701" r:id="rId16"/>
  </p:sldLayoutIdLst>
  <p:hf hdr="0" dt="0"/>
  <p:txStyles>
    <p:titleStyle>
      <a:lvl1pPr marL="0" indent="0" algn="l" defTabSz="457200" rtl="0" eaLnBrk="1" latinLnBrk="0" hangingPunct="1">
        <a:lnSpc>
          <a:spcPts val="3000"/>
        </a:lnSpc>
        <a:spcBef>
          <a:spcPct val="0"/>
        </a:spcBef>
        <a:buFontTx/>
        <a:buNone/>
        <a:defRPr lang="en-US" sz="2800" b="1" i="0" kern="1200" dirty="0">
          <a:solidFill>
            <a:schemeClr val="bg2"/>
          </a:solidFill>
          <a:latin typeface="DejaVu Serif" panose="02060603050605020204" pitchFamily="18" charset="0"/>
          <a:ea typeface="DejaVu Serif" panose="02060603050605020204" pitchFamily="18" charset="0"/>
          <a:cs typeface="DejaVu Serif" panose="02060603050605020204" pitchFamily="18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tx2"/>
        </a:buClr>
        <a:buFontTx/>
        <a:buNone/>
        <a:tabLst/>
        <a:defRPr lang="en-GB" sz="1600" b="1" kern="1200" dirty="0" smtClean="0">
          <a:solidFill>
            <a:srgbClr val="CF142B"/>
          </a:solidFill>
          <a:latin typeface="DejaVu Serif"/>
          <a:ea typeface="+mn-ea"/>
          <a:cs typeface="DejaVu Serif"/>
        </a:defRPr>
      </a:lvl1pPr>
      <a:lvl2pPr marL="0" indent="0" algn="l" defTabSz="457200" rtl="0" eaLnBrk="1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bg1"/>
        </a:buClr>
        <a:buFontTx/>
        <a:buNone/>
        <a:tabLst/>
        <a:defRPr lang="en-GB" sz="1600" b="0" kern="1200" dirty="0" smtClean="0">
          <a:solidFill>
            <a:srgbClr val="000000"/>
          </a:solidFill>
          <a:latin typeface="+mn-lt"/>
          <a:ea typeface="+mn-ea"/>
          <a:cs typeface="Verdana"/>
        </a:defRPr>
      </a:lvl2pPr>
      <a:lvl3pPr marL="90488" indent="-90488" algn="l" defTabSz="457200" rtl="0" eaLnBrk="1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bg2"/>
        </a:buClr>
        <a:buFont typeface="Arial" panose="020B0604020202020204" pitchFamily="34" charset="0"/>
        <a:buChar char="•"/>
        <a:defRPr lang="en-GB" sz="1600" b="0" kern="1200" dirty="0" smtClean="0">
          <a:solidFill>
            <a:srgbClr val="000000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3pPr>
      <a:lvl4pPr marL="271463" indent="-90488" algn="l" defTabSz="457200" rtl="0" eaLnBrk="1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bg2"/>
        </a:buClr>
        <a:buFontTx/>
        <a:buChar char="̶"/>
        <a:defRPr lang="en-US" sz="1600" b="0" kern="1200" dirty="0" smtClean="0">
          <a:solidFill>
            <a:srgbClr val="000000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4pPr>
      <a:lvl5pPr marL="360000" indent="-90488" algn="l" defTabSz="457200" rtl="0" eaLnBrk="1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bg2"/>
        </a:buClr>
        <a:buFont typeface="Helvetica" panose="020B0604020202020204" pitchFamily="34" charset="0"/>
        <a:buChar char="»"/>
        <a:tabLst/>
        <a:defRPr lang="en-GB" sz="1600" b="0" u="none" kern="1200" dirty="0">
          <a:solidFill>
            <a:srgbClr val="000000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15B2B87-2C42-480B-894A-B8161A0F88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754014"/>
              </p:ext>
            </p:extLst>
          </p:nvPr>
        </p:nvGraphicFramePr>
        <p:xfrm>
          <a:off x="635673" y="424166"/>
          <a:ext cx="8915392" cy="6121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2610">
                  <a:extLst>
                    <a:ext uri="{9D8B030D-6E8A-4147-A177-3AD203B41FA5}">
                      <a16:colId xmlns:a16="http://schemas.microsoft.com/office/drawing/2014/main" val="667021619"/>
                    </a:ext>
                  </a:extLst>
                </a:gridCol>
                <a:gridCol w="1025136">
                  <a:extLst>
                    <a:ext uri="{9D8B030D-6E8A-4147-A177-3AD203B41FA5}">
                      <a16:colId xmlns:a16="http://schemas.microsoft.com/office/drawing/2014/main" val="3302074847"/>
                    </a:ext>
                  </a:extLst>
                </a:gridCol>
                <a:gridCol w="1001485">
                  <a:extLst>
                    <a:ext uri="{9D8B030D-6E8A-4147-A177-3AD203B41FA5}">
                      <a16:colId xmlns:a16="http://schemas.microsoft.com/office/drawing/2014/main" val="92334752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596541782"/>
                    </a:ext>
                  </a:extLst>
                </a:gridCol>
                <a:gridCol w="1419498">
                  <a:extLst>
                    <a:ext uri="{9D8B030D-6E8A-4147-A177-3AD203B41FA5}">
                      <a16:colId xmlns:a16="http://schemas.microsoft.com/office/drawing/2014/main" val="3080534251"/>
                    </a:ext>
                  </a:extLst>
                </a:gridCol>
                <a:gridCol w="1036320">
                  <a:extLst>
                    <a:ext uri="{9D8B030D-6E8A-4147-A177-3AD203B41FA5}">
                      <a16:colId xmlns:a16="http://schemas.microsoft.com/office/drawing/2014/main" val="4239865596"/>
                    </a:ext>
                  </a:extLst>
                </a:gridCol>
                <a:gridCol w="966651">
                  <a:extLst>
                    <a:ext uri="{9D8B030D-6E8A-4147-A177-3AD203B41FA5}">
                      <a16:colId xmlns:a16="http://schemas.microsoft.com/office/drawing/2014/main" val="1644550922"/>
                    </a:ext>
                  </a:extLst>
                </a:gridCol>
                <a:gridCol w="1058332">
                  <a:extLst>
                    <a:ext uri="{9D8B030D-6E8A-4147-A177-3AD203B41FA5}">
                      <a16:colId xmlns:a16="http://schemas.microsoft.com/office/drawing/2014/main" val="1250517082"/>
                    </a:ext>
                  </a:extLst>
                </a:gridCol>
              </a:tblGrid>
              <a:tr h="669506">
                <a:tc>
                  <a:txBody>
                    <a:bodyPr/>
                    <a:lstStyle/>
                    <a:p>
                      <a:r>
                        <a:rPr lang="en-US" sz="1200" b="0" dirty="0"/>
                        <a:t>OECD Count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/>
                        <a:t>Within upper second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/>
                        <a:t>Partially upper second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/>
                        <a:t>Fully post-second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/>
                        <a:t>OECD Count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/>
                        <a:t>Within upper second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/>
                        <a:t>Partially upper second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/>
                        <a:t>Fully post-seconda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5256030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Austral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Kor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8979200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Austr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atv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5468871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Belg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ithuan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4598718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uxembou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8265613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Ch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661408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Colomb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therla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6649497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Czech Republic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/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w Zea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3315623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Denma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rw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8570104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Eston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o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6051138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Fin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ortug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7156711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lovak Republ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2623538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Germ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loven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8005553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Gree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pa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2101377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Hung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wed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6499692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Iceland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/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witzer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0653404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Ire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urke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8250204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Isra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8568509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r>
                        <a:rPr lang="en-US" sz="1200" dirty="0"/>
                        <a:t>Ita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2347037"/>
                  </a:ext>
                </a:extLst>
              </a:tr>
              <a:tr h="28693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Jap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7885342"/>
                  </a:ext>
                </a:extLst>
              </a:tr>
            </a:tbl>
          </a:graphicData>
        </a:graphic>
      </p:graphicFrame>
      <p:grpSp>
        <p:nvGrpSpPr>
          <p:cNvPr id="151" name="Group 150">
            <a:extLst>
              <a:ext uri="{FF2B5EF4-FFF2-40B4-BE49-F238E27FC236}">
                <a16:creationId xmlns:a16="http://schemas.microsoft.com/office/drawing/2014/main" id="{4F0C233C-DA45-4630-BC72-35F9301CA1B1}"/>
              </a:ext>
            </a:extLst>
          </p:cNvPr>
          <p:cNvGrpSpPr/>
          <p:nvPr/>
        </p:nvGrpSpPr>
        <p:grpSpPr>
          <a:xfrm>
            <a:off x="2457085" y="1087747"/>
            <a:ext cx="6722004" cy="5449224"/>
            <a:chOff x="2457085" y="1087747"/>
            <a:chExt cx="6722004" cy="5449224"/>
          </a:xfrm>
        </p:grpSpPr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AFDBCBFE-C4E6-48CF-B6AC-9AECDB0F61AA}"/>
                </a:ext>
              </a:extLst>
            </p:cNvPr>
            <p:cNvGrpSpPr/>
            <p:nvPr/>
          </p:nvGrpSpPr>
          <p:grpSpPr>
            <a:xfrm>
              <a:off x="4384195" y="1087747"/>
              <a:ext cx="294580" cy="275946"/>
              <a:chOff x="4384195" y="1087747"/>
              <a:chExt cx="294580" cy="275946"/>
            </a:xfrm>
          </p:grpSpPr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6914088C-43FB-4933-97F6-E4BA3EF7F09D}"/>
                  </a:ext>
                </a:extLst>
              </p:cNvPr>
              <p:cNvSpPr/>
              <p:nvPr/>
            </p:nvSpPr>
            <p:spPr bwMode="ltGray">
              <a:xfrm>
                <a:off x="4384195" y="1087747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" name="Freeform 192">
                <a:extLst>
                  <a:ext uri="{FF2B5EF4-FFF2-40B4-BE49-F238E27FC236}">
                    <a16:creationId xmlns:a16="http://schemas.microsoft.com/office/drawing/2014/main" id="{23D9BEC3-B7FC-486F-9412-B9A09E58E0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0146" y="1155145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3E2D1578-C55A-4563-8AD5-7120356A0E3B}"/>
                </a:ext>
              </a:extLst>
            </p:cNvPr>
            <p:cNvGrpSpPr/>
            <p:nvPr/>
          </p:nvGrpSpPr>
          <p:grpSpPr>
            <a:xfrm>
              <a:off x="2457485" y="1389431"/>
              <a:ext cx="294580" cy="275946"/>
              <a:chOff x="2457485" y="1389431"/>
              <a:chExt cx="294580" cy="275946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9F89AA91-59A5-49DB-A8C2-E2A11402E691}"/>
                  </a:ext>
                </a:extLst>
              </p:cNvPr>
              <p:cNvSpPr/>
              <p:nvPr/>
            </p:nvSpPr>
            <p:spPr bwMode="ltGray">
              <a:xfrm>
                <a:off x="2457485" y="1389431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3" name="Freeform 192">
                <a:extLst>
                  <a:ext uri="{FF2B5EF4-FFF2-40B4-BE49-F238E27FC236}">
                    <a16:creationId xmlns:a16="http://schemas.microsoft.com/office/drawing/2014/main" id="{2916352E-DB3B-461D-8517-BD7BC302C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3436" y="1456829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FEF096D7-48BC-469A-AD82-5C5AE848F42F}"/>
                </a:ext>
              </a:extLst>
            </p:cNvPr>
            <p:cNvGrpSpPr/>
            <p:nvPr/>
          </p:nvGrpSpPr>
          <p:grpSpPr>
            <a:xfrm>
              <a:off x="3427834" y="1665377"/>
              <a:ext cx="294580" cy="275946"/>
              <a:chOff x="3427834" y="1665377"/>
              <a:chExt cx="294580" cy="275946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542D4D76-E4FC-4872-9FCE-370B33C7C2FB}"/>
                  </a:ext>
                </a:extLst>
              </p:cNvPr>
              <p:cNvSpPr/>
              <p:nvPr/>
            </p:nvSpPr>
            <p:spPr bwMode="ltGray">
              <a:xfrm>
                <a:off x="3427834" y="1665377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9" name="Freeform 192">
                <a:extLst>
                  <a:ext uri="{FF2B5EF4-FFF2-40B4-BE49-F238E27FC236}">
                    <a16:creationId xmlns:a16="http://schemas.microsoft.com/office/drawing/2014/main" id="{C1F71BB5-90FA-4DE1-A774-1E6F516138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3785" y="1732775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866A21D9-D2BF-46BF-84EC-F8D0AAB4884C}"/>
                </a:ext>
              </a:extLst>
            </p:cNvPr>
            <p:cNvGrpSpPr/>
            <p:nvPr/>
          </p:nvGrpSpPr>
          <p:grpSpPr>
            <a:xfrm>
              <a:off x="4382995" y="1965769"/>
              <a:ext cx="294580" cy="275946"/>
              <a:chOff x="4382995" y="1965769"/>
              <a:chExt cx="294580" cy="275946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FD2387A-9D37-4733-859E-288F7440C306}"/>
                  </a:ext>
                </a:extLst>
              </p:cNvPr>
              <p:cNvSpPr/>
              <p:nvPr/>
            </p:nvSpPr>
            <p:spPr bwMode="ltGray">
              <a:xfrm>
                <a:off x="4382995" y="1965769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22" name="Freeform 192">
                <a:extLst>
                  <a:ext uri="{FF2B5EF4-FFF2-40B4-BE49-F238E27FC236}">
                    <a16:creationId xmlns:a16="http://schemas.microsoft.com/office/drawing/2014/main" id="{4002F8E7-4E89-4556-A54C-346D9A05CB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8946" y="2033167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18E37F7A-D338-4A4A-8E3A-0D8D3C09F3FD}"/>
                </a:ext>
              </a:extLst>
            </p:cNvPr>
            <p:cNvGrpSpPr/>
            <p:nvPr/>
          </p:nvGrpSpPr>
          <p:grpSpPr>
            <a:xfrm>
              <a:off x="2458846" y="2261923"/>
              <a:ext cx="294580" cy="275946"/>
              <a:chOff x="2458846" y="2261923"/>
              <a:chExt cx="294580" cy="275946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54B377E0-CB74-4739-8AB3-69EC6066A9BD}"/>
                  </a:ext>
                </a:extLst>
              </p:cNvPr>
              <p:cNvSpPr/>
              <p:nvPr/>
            </p:nvSpPr>
            <p:spPr bwMode="ltGray">
              <a:xfrm>
                <a:off x="2458846" y="2261923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25" name="Freeform 192">
                <a:extLst>
                  <a:ext uri="{FF2B5EF4-FFF2-40B4-BE49-F238E27FC236}">
                    <a16:creationId xmlns:a16="http://schemas.microsoft.com/office/drawing/2014/main" id="{618A363D-3CE9-4142-9968-B93C7D1ADF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4797" y="2329321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27C15F05-6447-4BBA-895E-827E2746E342}"/>
                </a:ext>
              </a:extLst>
            </p:cNvPr>
            <p:cNvGrpSpPr/>
            <p:nvPr/>
          </p:nvGrpSpPr>
          <p:grpSpPr>
            <a:xfrm>
              <a:off x="2457085" y="2546449"/>
              <a:ext cx="294580" cy="275946"/>
              <a:chOff x="2457085" y="2546449"/>
              <a:chExt cx="294580" cy="275946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42003028-E89E-4811-96FA-0DB7F3DBABCD}"/>
                  </a:ext>
                </a:extLst>
              </p:cNvPr>
              <p:cNvSpPr/>
              <p:nvPr/>
            </p:nvSpPr>
            <p:spPr bwMode="ltGray">
              <a:xfrm>
                <a:off x="2457085" y="2546449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28" name="Freeform 192">
                <a:extLst>
                  <a:ext uri="{FF2B5EF4-FFF2-40B4-BE49-F238E27FC236}">
                    <a16:creationId xmlns:a16="http://schemas.microsoft.com/office/drawing/2014/main" id="{60D7EE93-4E9A-44FF-B9FC-220657635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3036" y="2613847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8229312A-B849-4551-9A0D-F89B31EE408B}"/>
                </a:ext>
              </a:extLst>
            </p:cNvPr>
            <p:cNvGrpSpPr/>
            <p:nvPr/>
          </p:nvGrpSpPr>
          <p:grpSpPr>
            <a:xfrm>
              <a:off x="4384195" y="3104878"/>
              <a:ext cx="294580" cy="275946"/>
              <a:chOff x="4384195" y="3104878"/>
              <a:chExt cx="294580" cy="275946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A8611547-4851-4A41-B822-3250BA8A41C5}"/>
                  </a:ext>
                </a:extLst>
              </p:cNvPr>
              <p:cNvSpPr/>
              <p:nvPr/>
            </p:nvSpPr>
            <p:spPr bwMode="ltGray">
              <a:xfrm>
                <a:off x="4384195" y="3104878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31" name="Freeform 192">
                <a:extLst>
                  <a:ext uri="{FF2B5EF4-FFF2-40B4-BE49-F238E27FC236}">
                    <a16:creationId xmlns:a16="http://schemas.microsoft.com/office/drawing/2014/main" id="{565A509C-F43C-44F2-9BC8-4EBE04DAD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0146" y="3172276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2AF27835-B1FD-4BC6-B1B0-C84458206EF4}"/>
                </a:ext>
              </a:extLst>
            </p:cNvPr>
            <p:cNvGrpSpPr/>
            <p:nvPr/>
          </p:nvGrpSpPr>
          <p:grpSpPr>
            <a:xfrm>
              <a:off x="3427834" y="3395760"/>
              <a:ext cx="294580" cy="275946"/>
              <a:chOff x="3427834" y="3395760"/>
              <a:chExt cx="294580" cy="275946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FAF77068-B435-4F48-A4C0-A22D35691E53}"/>
                  </a:ext>
                </a:extLst>
              </p:cNvPr>
              <p:cNvSpPr/>
              <p:nvPr/>
            </p:nvSpPr>
            <p:spPr bwMode="ltGray">
              <a:xfrm>
                <a:off x="3427834" y="3395760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34" name="Freeform 192">
                <a:extLst>
                  <a:ext uri="{FF2B5EF4-FFF2-40B4-BE49-F238E27FC236}">
                    <a16:creationId xmlns:a16="http://schemas.microsoft.com/office/drawing/2014/main" id="{2A668E84-7D38-42A6-BB1F-CFC2A522C6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3785" y="3463158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7938492C-2239-4585-9177-8CCD875A23AC}"/>
                </a:ext>
              </a:extLst>
            </p:cNvPr>
            <p:cNvGrpSpPr/>
            <p:nvPr/>
          </p:nvGrpSpPr>
          <p:grpSpPr>
            <a:xfrm>
              <a:off x="4383395" y="3686640"/>
              <a:ext cx="294580" cy="275946"/>
              <a:chOff x="4383395" y="3686640"/>
              <a:chExt cx="294580" cy="275946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CBCB5FC4-6E16-4E47-A3CA-EB8304070AAA}"/>
                  </a:ext>
                </a:extLst>
              </p:cNvPr>
              <p:cNvSpPr/>
              <p:nvPr/>
            </p:nvSpPr>
            <p:spPr bwMode="ltGray">
              <a:xfrm>
                <a:off x="4383395" y="3686640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37" name="Freeform 192">
                <a:extLst>
                  <a:ext uri="{FF2B5EF4-FFF2-40B4-BE49-F238E27FC236}">
                    <a16:creationId xmlns:a16="http://schemas.microsoft.com/office/drawing/2014/main" id="{BAD8DD90-1539-4A4B-AB5A-38402A3B8A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9346" y="3754038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884B4B58-C669-4EF1-ACDF-AC5076BD0178}"/>
                </a:ext>
              </a:extLst>
            </p:cNvPr>
            <p:cNvGrpSpPr/>
            <p:nvPr/>
          </p:nvGrpSpPr>
          <p:grpSpPr>
            <a:xfrm>
              <a:off x="3427434" y="3962586"/>
              <a:ext cx="294580" cy="275946"/>
              <a:chOff x="3427434" y="3962586"/>
              <a:chExt cx="294580" cy="275946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063343BB-E723-46BF-BC64-44654DC76008}"/>
                  </a:ext>
                </a:extLst>
              </p:cNvPr>
              <p:cNvSpPr/>
              <p:nvPr/>
            </p:nvSpPr>
            <p:spPr bwMode="ltGray">
              <a:xfrm>
                <a:off x="3427434" y="3962586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40" name="Freeform 192">
                <a:extLst>
                  <a:ext uri="{FF2B5EF4-FFF2-40B4-BE49-F238E27FC236}">
                    <a16:creationId xmlns:a16="http://schemas.microsoft.com/office/drawing/2014/main" id="{4D7112BE-AC19-4586-87D1-670883360A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3385" y="4029984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97665754-0D5B-4012-976C-872419793A40}"/>
                </a:ext>
              </a:extLst>
            </p:cNvPr>
            <p:cNvGrpSpPr/>
            <p:nvPr/>
          </p:nvGrpSpPr>
          <p:grpSpPr>
            <a:xfrm>
              <a:off x="4382595" y="4249350"/>
              <a:ext cx="294580" cy="275946"/>
              <a:chOff x="4382595" y="4249350"/>
              <a:chExt cx="294580" cy="275946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D8CDB587-F967-48B0-8414-26BD7CA911E7}"/>
                  </a:ext>
                </a:extLst>
              </p:cNvPr>
              <p:cNvSpPr/>
              <p:nvPr/>
            </p:nvSpPr>
            <p:spPr bwMode="ltGray">
              <a:xfrm>
                <a:off x="4382595" y="4249350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43" name="Freeform 192">
                <a:extLst>
                  <a:ext uri="{FF2B5EF4-FFF2-40B4-BE49-F238E27FC236}">
                    <a16:creationId xmlns:a16="http://schemas.microsoft.com/office/drawing/2014/main" id="{6E744A50-87B2-4801-B042-A4564C82F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8546" y="4316748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ADC9CD22-FA90-4DEC-92D2-EEF090A6A264}"/>
                </a:ext>
              </a:extLst>
            </p:cNvPr>
            <p:cNvGrpSpPr/>
            <p:nvPr/>
          </p:nvGrpSpPr>
          <p:grpSpPr>
            <a:xfrm>
              <a:off x="2457485" y="4534727"/>
              <a:ext cx="294580" cy="275946"/>
              <a:chOff x="2457485" y="4534727"/>
              <a:chExt cx="294580" cy="275946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0E517749-8FA7-406D-AB1E-C05628C50C46}"/>
                  </a:ext>
                </a:extLst>
              </p:cNvPr>
              <p:cNvSpPr/>
              <p:nvPr/>
            </p:nvSpPr>
            <p:spPr bwMode="ltGray">
              <a:xfrm>
                <a:off x="2457485" y="4534727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46" name="Freeform 192">
                <a:extLst>
                  <a:ext uri="{FF2B5EF4-FFF2-40B4-BE49-F238E27FC236}">
                    <a16:creationId xmlns:a16="http://schemas.microsoft.com/office/drawing/2014/main" id="{056906D5-8009-486A-831F-6525E8AB5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3436" y="4602125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98AC95A6-395E-435B-ADBD-510CAE72394B}"/>
                </a:ext>
              </a:extLst>
            </p:cNvPr>
            <p:cNvGrpSpPr/>
            <p:nvPr/>
          </p:nvGrpSpPr>
          <p:grpSpPr>
            <a:xfrm>
              <a:off x="2457485" y="4830200"/>
              <a:ext cx="294580" cy="275946"/>
              <a:chOff x="2457485" y="4830200"/>
              <a:chExt cx="294580" cy="275946"/>
            </a:xfrm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AA61B235-A4B7-4F44-9DDA-D18154E77AEA}"/>
                  </a:ext>
                </a:extLst>
              </p:cNvPr>
              <p:cNvSpPr/>
              <p:nvPr/>
            </p:nvSpPr>
            <p:spPr bwMode="ltGray">
              <a:xfrm>
                <a:off x="2457485" y="4830200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49" name="Freeform 192">
                <a:extLst>
                  <a:ext uri="{FF2B5EF4-FFF2-40B4-BE49-F238E27FC236}">
                    <a16:creationId xmlns:a16="http://schemas.microsoft.com/office/drawing/2014/main" id="{E0192F58-01AA-4B68-95FC-16D05571A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3436" y="4897598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DBC745DD-A319-4D64-8684-F9FC7E9DC769}"/>
                </a:ext>
              </a:extLst>
            </p:cNvPr>
            <p:cNvGrpSpPr/>
            <p:nvPr/>
          </p:nvGrpSpPr>
          <p:grpSpPr>
            <a:xfrm>
              <a:off x="4390953" y="5407511"/>
              <a:ext cx="294580" cy="275946"/>
              <a:chOff x="4390953" y="5407511"/>
              <a:chExt cx="294580" cy="275946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27F3E38A-8B9D-4C8B-95E7-8F4DD6BBA61F}"/>
                  </a:ext>
                </a:extLst>
              </p:cNvPr>
              <p:cNvSpPr/>
              <p:nvPr/>
            </p:nvSpPr>
            <p:spPr bwMode="ltGray">
              <a:xfrm>
                <a:off x="4390953" y="5407511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52" name="Freeform 192">
                <a:extLst>
                  <a:ext uri="{FF2B5EF4-FFF2-40B4-BE49-F238E27FC236}">
                    <a16:creationId xmlns:a16="http://schemas.microsoft.com/office/drawing/2014/main" id="{D894A4E8-4CE4-4467-823D-4E8756511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6904" y="5474909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7DF39715-1067-450C-AE1D-EE2124C663E4}"/>
                </a:ext>
              </a:extLst>
            </p:cNvPr>
            <p:cNvGrpSpPr/>
            <p:nvPr/>
          </p:nvGrpSpPr>
          <p:grpSpPr>
            <a:xfrm>
              <a:off x="2458846" y="5687313"/>
              <a:ext cx="294580" cy="275946"/>
              <a:chOff x="2458846" y="5687313"/>
              <a:chExt cx="294580" cy="275946"/>
            </a:xfrm>
          </p:grpSpPr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DDEA71DB-A19A-42D0-B1BD-392EDC964D5C}"/>
                  </a:ext>
                </a:extLst>
              </p:cNvPr>
              <p:cNvSpPr/>
              <p:nvPr/>
            </p:nvSpPr>
            <p:spPr bwMode="ltGray">
              <a:xfrm>
                <a:off x="2458846" y="5687313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55" name="Freeform 192">
                <a:extLst>
                  <a:ext uri="{FF2B5EF4-FFF2-40B4-BE49-F238E27FC236}">
                    <a16:creationId xmlns:a16="http://schemas.microsoft.com/office/drawing/2014/main" id="{46B8E25F-54E2-409C-BF84-392E7ED38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4797" y="5754711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1BA65568-5FC8-425E-9430-DCB9770D1D69}"/>
                </a:ext>
              </a:extLst>
            </p:cNvPr>
            <p:cNvGrpSpPr/>
            <p:nvPr/>
          </p:nvGrpSpPr>
          <p:grpSpPr>
            <a:xfrm>
              <a:off x="2458846" y="5982786"/>
              <a:ext cx="294580" cy="275946"/>
              <a:chOff x="2458846" y="5982786"/>
              <a:chExt cx="294580" cy="275946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02A4CD0B-06DD-4A16-B432-202C7FC6A664}"/>
                  </a:ext>
                </a:extLst>
              </p:cNvPr>
              <p:cNvSpPr/>
              <p:nvPr/>
            </p:nvSpPr>
            <p:spPr bwMode="ltGray">
              <a:xfrm>
                <a:off x="2458846" y="5982786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58" name="Freeform 192">
                <a:extLst>
                  <a:ext uri="{FF2B5EF4-FFF2-40B4-BE49-F238E27FC236}">
                    <a16:creationId xmlns:a16="http://schemas.microsoft.com/office/drawing/2014/main" id="{0B7BE6D9-9B46-4986-895C-9BEEE52317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4797" y="6050184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8B0E821C-9ED9-4653-ABC2-070AFFF8D6D2}"/>
                </a:ext>
              </a:extLst>
            </p:cNvPr>
            <p:cNvGrpSpPr/>
            <p:nvPr/>
          </p:nvGrpSpPr>
          <p:grpSpPr>
            <a:xfrm>
              <a:off x="2457485" y="6261025"/>
              <a:ext cx="294580" cy="275946"/>
              <a:chOff x="2457485" y="6261025"/>
              <a:chExt cx="294580" cy="275946"/>
            </a:xfrm>
          </p:grpSpPr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F868C373-7AC7-4EF7-AD5F-D87DFFFBFA3C}"/>
                  </a:ext>
                </a:extLst>
              </p:cNvPr>
              <p:cNvSpPr/>
              <p:nvPr/>
            </p:nvSpPr>
            <p:spPr bwMode="ltGray">
              <a:xfrm>
                <a:off x="2457485" y="6261025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61" name="Freeform 192">
                <a:extLst>
                  <a:ext uri="{FF2B5EF4-FFF2-40B4-BE49-F238E27FC236}">
                    <a16:creationId xmlns:a16="http://schemas.microsoft.com/office/drawing/2014/main" id="{11B236FD-E887-4C01-8101-9797865D3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3436" y="6328423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406FB988-4ECD-4C5B-B7CD-60786292788D}"/>
                </a:ext>
              </a:extLst>
            </p:cNvPr>
            <p:cNvGrpSpPr/>
            <p:nvPr/>
          </p:nvGrpSpPr>
          <p:grpSpPr>
            <a:xfrm>
              <a:off x="6881538" y="1087747"/>
              <a:ext cx="294580" cy="275946"/>
              <a:chOff x="6881538" y="1087747"/>
              <a:chExt cx="294580" cy="275946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ABF7772E-2C6E-49E3-B8EB-32FB9294D7A8}"/>
                  </a:ext>
                </a:extLst>
              </p:cNvPr>
              <p:cNvSpPr/>
              <p:nvPr/>
            </p:nvSpPr>
            <p:spPr bwMode="ltGray">
              <a:xfrm>
                <a:off x="6881538" y="1087747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64" name="Freeform 192">
                <a:extLst>
                  <a:ext uri="{FF2B5EF4-FFF2-40B4-BE49-F238E27FC236}">
                    <a16:creationId xmlns:a16="http://schemas.microsoft.com/office/drawing/2014/main" id="{DB36ECA4-9A85-41B8-9720-C8724D609A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7489" y="1155145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4E3C32BE-D6CB-444B-8E18-07FDDF44E221}"/>
                </a:ext>
              </a:extLst>
            </p:cNvPr>
            <p:cNvGrpSpPr/>
            <p:nvPr/>
          </p:nvGrpSpPr>
          <p:grpSpPr>
            <a:xfrm>
              <a:off x="8884509" y="1389431"/>
              <a:ext cx="294580" cy="275946"/>
              <a:chOff x="8884509" y="1389431"/>
              <a:chExt cx="294580" cy="275946"/>
            </a:xfrm>
          </p:grpSpPr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83F45F6C-4815-423A-B7DD-740A3D306679}"/>
                  </a:ext>
                </a:extLst>
              </p:cNvPr>
              <p:cNvSpPr/>
              <p:nvPr/>
            </p:nvSpPr>
            <p:spPr bwMode="ltGray">
              <a:xfrm>
                <a:off x="8884509" y="1389431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67" name="Freeform 192">
                <a:extLst>
                  <a:ext uri="{FF2B5EF4-FFF2-40B4-BE49-F238E27FC236}">
                    <a16:creationId xmlns:a16="http://schemas.microsoft.com/office/drawing/2014/main" id="{1F9407FC-B518-4E1B-B887-7E9920B03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50460" y="1456829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CEB1B005-9AA0-4C8A-9CD3-52469D516F5E}"/>
                </a:ext>
              </a:extLst>
            </p:cNvPr>
            <p:cNvGrpSpPr/>
            <p:nvPr/>
          </p:nvGrpSpPr>
          <p:grpSpPr>
            <a:xfrm>
              <a:off x="8884509" y="1667849"/>
              <a:ext cx="294580" cy="275946"/>
              <a:chOff x="8884509" y="1667849"/>
              <a:chExt cx="294580" cy="275946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2DDC754B-C613-4A53-8BB2-0E9663725037}"/>
                  </a:ext>
                </a:extLst>
              </p:cNvPr>
              <p:cNvSpPr/>
              <p:nvPr/>
            </p:nvSpPr>
            <p:spPr bwMode="ltGray">
              <a:xfrm>
                <a:off x="8884509" y="1667849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0" name="Freeform 192">
                <a:extLst>
                  <a:ext uri="{FF2B5EF4-FFF2-40B4-BE49-F238E27FC236}">
                    <a16:creationId xmlns:a16="http://schemas.microsoft.com/office/drawing/2014/main" id="{65172143-2807-4421-8F03-35B9A0AD8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50460" y="1735247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40D7DE61-2C85-4594-8724-ACC61AB3D827}"/>
                </a:ext>
              </a:extLst>
            </p:cNvPr>
            <p:cNvGrpSpPr/>
            <p:nvPr/>
          </p:nvGrpSpPr>
          <p:grpSpPr>
            <a:xfrm>
              <a:off x="7887377" y="1947030"/>
              <a:ext cx="294580" cy="275946"/>
              <a:chOff x="7887377" y="1947030"/>
              <a:chExt cx="294580" cy="275946"/>
            </a:xfrm>
          </p:grpSpPr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F7672E6B-AC51-44F5-A7A7-24EFD775F8BF}"/>
                  </a:ext>
                </a:extLst>
              </p:cNvPr>
              <p:cNvSpPr/>
              <p:nvPr/>
            </p:nvSpPr>
            <p:spPr bwMode="ltGray">
              <a:xfrm>
                <a:off x="7887377" y="1947030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3" name="Freeform 192">
                <a:extLst>
                  <a:ext uri="{FF2B5EF4-FFF2-40B4-BE49-F238E27FC236}">
                    <a16:creationId xmlns:a16="http://schemas.microsoft.com/office/drawing/2014/main" id="{BCA93D51-F741-4BC7-AE85-810812255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28" y="2014428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FCA6A38B-856F-4572-8AF5-358BAF85D62A}"/>
                </a:ext>
              </a:extLst>
            </p:cNvPr>
            <p:cNvGrpSpPr/>
            <p:nvPr/>
          </p:nvGrpSpPr>
          <p:grpSpPr>
            <a:xfrm>
              <a:off x="6881538" y="2237403"/>
              <a:ext cx="294580" cy="275946"/>
              <a:chOff x="6881538" y="2237403"/>
              <a:chExt cx="294580" cy="275946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45E2F1EF-0A61-445B-813B-5B61913F063A}"/>
                  </a:ext>
                </a:extLst>
              </p:cNvPr>
              <p:cNvSpPr/>
              <p:nvPr/>
            </p:nvSpPr>
            <p:spPr bwMode="ltGray">
              <a:xfrm>
                <a:off x="6881538" y="2237403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6" name="Freeform 192">
                <a:extLst>
                  <a:ext uri="{FF2B5EF4-FFF2-40B4-BE49-F238E27FC236}">
                    <a16:creationId xmlns:a16="http://schemas.microsoft.com/office/drawing/2014/main" id="{59DCB249-CB7F-4CE1-A5B1-6777980692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7489" y="2304801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48E70236-8C60-4CCA-BE0B-F8FEF3E219FC}"/>
                </a:ext>
              </a:extLst>
            </p:cNvPr>
            <p:cNvGrpSpPr/>
            <p:nvPr/>
          </p:nvGrpSpPr>
          <p:grpSpPr>
            <a:xfrm>
              <a:off x="8884109" y="2537869"/>
              <a:ext cx="294580" cy="275946"/>
              <a:chOff x="8884109" y="2537869"/>
              <a:chExt cx="294580" cy="275946"/>
            </a:xfrm>
          </p:grpSpPr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CABDD5A0-642D-48B5-A0F5-5129E7FCF11B}"/>
                  </a:ext>
                </a:extLst>
              </p:cNvPr>
              <p:cNvSpPr/>
              <p:nvPr/>
            </p:nvSpPr>
            <p:spPr bwMode="ltGray">
              <a:xfrm>
                <a:off x="8884109" y="2537869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9" name="Freeform 192">
                <a:extLst>
                  <a:ext uri="{FF2B5EF4-FFF2-40B4-BE49-F238E27FC236}">
                    <a16:creationId xmlns:a16="http://schemas.microsoft.com/office/drawing/2014/main" id="{0003E480-A54D-43B1-8374-36EC96FF1B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50060" y="2605267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D701769-F466-40E7-AA06-977F5AA0F96F}"/>
                </a:ext>
              </a:extLst>
            </p:cNvPr>
            <p:cNvGrpSpPr/>
            <p:nvPr/>
          </p:nvGrpSpPr>
          <p:grpSpPr>
            <a:xfrm>
              <a:off x="7886977" y="2812947"/>
              <a:ext cx="294580" cy="275946"/>
              <a:chOff x="7886977" y="2812947"/>
              <a:chExt cx="294580" cy="275946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6B32DE00-D6A3-4EC7-813A-B76D9AC61770}"/>
                  </a:ext>
                </a:extLst>
              </p:cNvPr>
              <p:cNvSpPr/>
              <p:nvPr/>
            </p:nvSpPr>
            <p:spPr bwMode="ltGray">
              <a:xfrm>
                <a:off x="7886977" y="2812947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82" name="Freeform 192">
                <a:extLst>
                  <a:ext uri="{FF2B5EF4-FFF2-40B4-BE49-F238E27FC236}">
                    <a16:creationId xmlns:a16="http://schemas.microsoft.com/office/drawing/2014/main" id="{78B593F2-325C-4541-A14C-E611E3392C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2928" y="2880345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D3BF7609-47F4-42E8-BAEE-1ECF9130FEA9}"/>
                </a:ext>
              </a:extLst>
            </p:cNvPr>
            <p:cNvGrpSpPr/>
            <p:nvPr/>
          </p:nvGrpSpPr>
          <p:grpSpPr>
            <a:xfrm>
              <a:off x="8883709" y="3104878"/>
              <a:ext cx="294580" cy="275946"/>
              <a:chOff x="8883709" y="3104878"/>
              <a:chExt cx="294580" cy="275946"/>
            </a:xfrm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54887B5B-D3B7-4473-95C3-4EEF428A6F98}"/>
                  </a:ext>
                </a:extLst>
              </p:cNvPr>
              <p:cNvSpPr/>
              <p:nvPr/>
            </p:nvSpPr>
            <p:spPr bwMode="ltGray">
              <a:xfrm>
                <a:off x="8883709" y="3104878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85" name="Freeform 192">
                <a:extLst>
                  <a:ext uri="{FF2B5EF4-FFF2-40B4-BE49-F238E27FC236}">
                    <a16:creationId xmlns:a16="http://schemas.microsoft.com/office/drawing/2014/main" id="{D783A810-2F41-455C-9914-ABD8ED204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9660" y="3172276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9BD9D91C-AAC5-42F5-B735-1C94B3723C66}"/>
                </a:ext>
              </a:extLst>
            </p:cNvPr>
            <p:cNvGrpSpPr/>
            <p:nvPr/>
          </p:nvGrpSpPr>
          <p:grpSpPr>
            <a:xfrm>
              <a:off x="7887377" y="3395760"/>
              <a:ext cx="294580" cy="275946"/>
              <a:chOff x="7887377" y="3395760"/>
              <a:chExt cx="294580" cy="275946"/>
            </a:xfrm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0382E953-080A-4332-A205-CA30045F6FEA}"/>
                  </a:ext>
                </a:extLst>
              </p:cNvPr>
              <p:cNvSpPr/>
              <p:nvPr/>
            </p:nvSpPr>
            <p:spPr bwMode="ltGray">
              <a:xfrm>
                <a:off x="7887377" y="3395760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88" name="Freeform 192">
                <a:extLst>
                  <a:ext uri="{FF2B5EF4-FFF2-40B4-BE49-F238E27FC236}">
                    <a16:creationId xmlns:a16="http://schemas.microsoft.com/office/drawing/2014/main" id="{4F3A36AD-C232-42AF-94B2-B583CA9D01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28" y="3463158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3660A51D-B0D6-4730-B4EF-723D768F954D}"/>
                </a:ext>
              </a:extLst>
            </p:cNvPr>
            <p:cNvGrpSpPr/>
            <p:nvPr/>
          </p:nvGrpSpPr>
          <p:grpSpPr>
            <a:xfrm>
              <a:off x="7887377" y="3681777"/>
              <a:ext cx="294580" cy="275946"/>
              <a:chOff x="7887377" y="3681777"/>
              <a:chExt cx="294580" cy="275946"/>
            </a:xfrm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0A3A8F1B-1CA9-46BE-8575-2100A7EF0EC9}"/>
                  </a:ext>
                </a:extLst>
              </p:cNvPr>
              <p:cNvSpPr/>
              <p:nvPr/>
            </p:nvSpPr>
            <p:spPr bwMode="ltGray">
              <a:xfrm>
                <a:off x="7887377" y="3681777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1" name="Freeform 192">
                <a:extLst>
                  <a:ext uri="{FF2B5EF4-FFF2-40B4-BE49-F238E27FC236}">
                    <a16:creationId xmlns:a16="http://schemas.microsoft.com/office/drawing/2014/main" id="{57D01546-7B87-4679-BB0E-7643C78406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28" y="3749175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432A798B-EEE8-4888-B7D8-5E2695DFF913}"/>
                </a:ext>
              </a:extLst>
            </p:cNvPr>
            <p:cNvGrpSpPr/>
            <p:nvPr/>
          </p:nvGrpSpPr>
          <p:grpSpPr>
            <a:xfrm>
              <a:off x="6881538" y="3962586"/>
              <a:ext cx="294580" cy="275946"/>
              <a:chOff x="6881538" y="3962586"/>
              <a:chExt cx="294580" cy="275946"/>
            </a:xfrm>
          </p:grpSpPr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6425220A-4506-40B5-8F98-6195D314D115}"/>
                  </a:ext>
                </a:extLst>
              </p:cNvPr>
              <p:cNvSpPr/>
              <p:nvPr/>
            </p:nvSpPr>
            <p:spPr bwMode="ltGray">
              <a:xfrm>
                <a:off x="6881538" y="3962586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4" name="Freeform 192">
                <a:extLst>
                  <a:ext uri="{FF2B5EF4-FFF2-40B4-BE49-F238E27FC236}">
                    <a16:creationId xmlns:a16="http://schemas.microsoft.com/office/drawing/2014/main" id="{434AD5C3-523C-4DAB-8702-8241E07B56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7489" y="4029984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18AC863E-73A7-41C3-9B4A-679FDB53D651}"/>
                </a:ext>
              </a:extLst>
            </p:cNvPr>
            <p:cNvGrpSpPr/>
            <p:nvPr/>
          </p:nvGrpSpPr>
          <p:grpSpPr>
            <a:xfrm>
              <a:off x="7887377" y="4258781"/>
              <a:ext cx="294580" cy="275946"/>
              <a:chOff x="7887377" y="4258781"/>
              <a:chExt cx="294580" cy="275946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7E2B4E2C-7B2F-48C2-9161-475AA9C6EA59}"/>
                  </a:ext>
                </a:extLst>
              </p:cNvPr>
              <p:cNvSpPr/>
              <p:nvPr/>
            </p:nvSpPr>
            <p:spPr bwMode="ltGray">
              <a:xfrm>
                <a:off x="7887377" y="4258781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7" name="Freeform 192">
                <a:extLst>
                  <a:ext uri="{FF2B5EF4-FFF2-40B4-BE49-F238E27FC236}">
                    <a16:creationId xmlns:a16="http://schemas.microsoft.com/office/drawing/2014/main" id="{059535C9-C84F-4F3E-96C5-90A588DED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28" y="4326179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85CE7979-3A59-475A-B4F8-7E8EEE298D3F}"/>
                </a:ext>
              </a:extLst>
            </p:cNvPr>
            <p:cNvGrpSpPr/>
            <p:nvPr/>
          </p:nvGrpSpPr>
          <p:grpSpPr>
            <a:xfrm>
              <a:off x="7887659" y="4543480"/>
              <a:ext cx="294580" cy="275946"/>
              <a:chOff x="7887659" y="4543480"/>
              <a:chExt cx="294580" cy="275946"/>
            </a:xfrm>
          </p:grpSpPr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4E4BE84C-A53D-4E17-A14E-B65FCE34C3A0}"/>
                  </a:ext>
                </a:extLst>
              </p:cNvPr>
              <p:cNvSpPr/>
              <p:nvPr/>
            </p:nvSpPr>
            <p:spPr bwMode="ltGray">
              <a:xfrm>
                <a:off x="7887659" y="4543480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00" name="Freeform 192">
                <a:extLst>
                  <a:ext uri="{FF2B5EF4-FFF2-40B4-BE49-F238E27FC236}">
                    <a16:creationId xmlns:a16="http://schemas.microsoft.com/office/drawing/2014/main" id="{E4FE5297-1E31-4151-BEA0-329E90F8B3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610" y="4610878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A9FFDDDF-6FEC-4976-A6DD-7540F338B9FF}"/>
                </a:ext>
              </a:extLst>
            </p:cNvPr>
            <p:cNvGrpSpPr/>
            <p:nvPr/>
          </p:nvGrpSpPr>
          <p:grpSpPr>
            <a:xfrm>
              <a:off x="6881138" y="4833853"/>
              <a:ext cx="294580" cy="275946"/>
              <a:chOff x="6881138" y="4833853"/>
              <a:chExt cx="294580" cy="275946"/>
            </a:xfrm>
          </p:grpSpPr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477F650F-C3A4-4DBA-B07A-D160295FFF44}"/>
                  </a:ext>
                </a:extLst>
              </p:cNvPr>
              <p:cNvSpPr/>
              <p:nvPr/>
            </p:nvSpPr>
            <p:spPr bwMode="ltGray">
              <a:xfrm>
                <a:off x="6881138" y="4833853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03" name="Freeform 192">
                <a:extLst>
                  <a:ext uri="{FF2B5EF4-FFF2-40B4-BE49-F238E27FC236}">
                    <a16:creationId xmlns:a16="http://schemas.microsoft.com/office/drawing/2014/main" id="{28FFB815-6285-4705-A211-85348D9087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7089" y="4901251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88691B3C-0C12-4064-AB24-929426A91899}"/>
                </a:ext>
              </a:extLst>
            </p:cNvPr>
            <p:cNvGrpSpPr/>
            <p:nvPr/>
          </p:nvGrpSpPr>
          <p:grpSpPr>
            <a:xfrm>
              <a:off x="7886977" y="5107479"/>
              <a:ext cx="294580" cy="275946"/>
              <a:chOff x="7886977" y="5107479"/>
              <a:chExt cx="294580" cy="275946"/>
            </a:xfrm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2E13DB3A-3B08-4AC9-AD1F-6672DEBD4170}"/>
                  </a:ext>
                </a:extLst>
              </p:cNvPr>
              <p:cNvSpPr/>
              <p:nvPr/>
            </p:nvSpPr>
            <p:spPr bwMode="ltGray">
              <a:xfrm>
                <a:off x="7886977" y="5107479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06" name="Freeform 192">
                <a:extLst>
                  <a:ext uri="{FF2B5EF4-FFF2-40B4-BE49-F238E27FC236}">
                    <a16:creationId xmlns:a16="http://schemas.microsoft.com/office/drawing/2014/main" id="{373E5882-A371-45B1-892C-5A3545097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2928" y="5174877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461EF6E6-5472-4D9F-8E34-C3C2C673B930}"/>
                </a:ext>
              </a:extLst>
            </p:cNvPr>
            <p:cNvGrpSpPr/>
            <p:nvPr/>
          </p:nvGrpSpPr>
          <p:grpSpPr>
            <a:xfrm>
              <a:off x="6881138" y="5387513"/>
              <a:ext cx="294580" cy="275946"/>
              <a:chOff x="6881138" y="5387513"/>
              <a:chExt cx="294580" cy="275946"/>
            </a:xfrm>
          </p:grpSpPr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9543C4BE-AE54-4D0B-B23D-7C211159FF93}"/>
                  </a:ext>
                </a:extLst>
              </p:cNvPr>
              <p:cNvSpPr/>
              <p:nvPr/>
            </p:nvSpPr>
            <p:spPr bwMode="ltGray">
              <a:xfrm>
                <a:off x="6881138" y="5387513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09" name="Freeform 192">
                <a:extLst>
                  <a:ext uri="{FF2B5EF4-FFF2-40B4-BE49-F238E27FC236}">
                    <a16:creationId xmlns:a16="http://schemas.microsoft.com/office/drawing/2014/main" id="{A633A66A-AB0A-42F3-B947-8627DAD5B3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7089" y="5454911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07DDB451-8841-44ED-9E58-00212D9AEDA3}"/>
                </a:ext>
              </a:extLst>
            </p:cNvPr>
            <p:cNvGrpSpPr/>
            <p:nvPr/>
          </p:nvGrpSpPr>
          <p:grpSpPr>
            <a:xfrm>
              <a:off x="7886577" y="5670469"/>
              <a:ext cx="294580" cy="275946"/>
              <a:chOff x="7886577" y="5670469"/>
              <a:chExt cx="294580" cy="275946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DA3F47B8-DA96-4E39-85CE-4593B0814B45}"/>
                  </a:ext>
                </a:extLst>
              </p:cNvPr>
              <p:cNvSpPr/>
              <p:nvPr/>
            </p:nvSpPr>
            <p:spPr bwMode="ltGray">
              <a:xfrm>
                <a:off x="7886577" y="5670469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12" name="Freeform 192">
                <a:extLst>
                  <a:ext uri="{FF2B5EF4-FFF2-40B4-BE49-F238E27FC236}">
                    <a16:creationId xmlns:a16="http://schemas.microsoft.com/office/drawing/2014/main" id="{6C726717-271D-4F86-919C-BD9672F50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2528" y="5737867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BABD5A17-339D-4320-B126-D749C7FCB2AE}"/>
                </a:ext>
              </a:extLst>
            </p:cNvPr>
            <p:cNvGrpSpPr/>
            <p:nvPr/>
          </p:nvGrpSpPr>
          <p:grpSpPr>
            <a:xfrm>
              <a:off x="6881538" y="5985079"/>
              <a:ext cx="294580" cy="275946"/>
              <a:chOff x="6881538" y="5985079"/>
              <a:chExt cx="294580" cy="275946"/>
            </a:xfrm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A618201E-C850-4313-88D9-4B9B02229FCF}"/>
                  </a:ext>
                </a:extLst>
              </p:cNvPr>
              <p:cNvSpPr/>
              <p:nvPr/>
            </p:nvSpPr>
            <p:spPr bwMode="ltGray">
              <a:xfrm>
                <a:off x="6881538" y="5985079"/>
                <a:ext cx="294580" cy="275946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15" name="Freeform 192">
                <a:extLst>
                  <a:ext uri="{FF2B5EF4-FFF2-40B4-BE49-F238E27FC236}">
                    <a16:creationId xmlns:a16="http://schemas.microsoft.com/office/drawing/2014/main" id="{53850E85-5DFC-4C60-887F-51F96D0E3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7489" y="6052477"/>
                <a:ext cx="161878" cy="146513"/>
              </a:xfrm>
              <a:custGeom>
                <a:avLst/>
                <a:gdLst>
                  <a:gd name="T0" fmla="*/ 36952266 w 15756"/>
                  <a:gd name="T1" fmla="*/ 4412460 h 16364"/>
                  <a:gd name="T2" fmla="*/ 33094465 w 15756"/>
                  <a:gd name="T3" fmla="*/ 8349246 h 16364"/>
                  <a:gd name="T4" fmla="*/ 29403603 w 15756"/>
                  <a:gd name="T5" fmla="*/ 12294895 h 16364"/>
                  <a:gd name="T6" fmla="*/ 25879675 w 15756"/>
                  <a:gd name="T7" fmla="*/ 16253889 h 16364"/>
                  <a:gd name="T8" fmla="*/ 22548437 w 15756"/>
                  <a:gd name="T9" fmla="*/ 20192890 h 16364"/>
                  <a:gd name="T10" fmla="*/ 19448299 w 15756"/>
                  <a:gd name="T11" fmla="*/ 24065177 h 16364"/>
                  <a:gd name="T12" fmla="*/ 16587067 w 15756"/>
                  <a:gd name="T13" fmla="*/ 27870804 h 16364"/>
                  <a:gd name="T14" fmla="*/ 13959519 w 15756"/>
                  <a:gd name="T15" fmla="*/ 31611926 h 16364"/>
                  <a:gd name="T16" fmla="*/ 12793423 w 15756"/>
                  <a:gd name="T17" fmla="*/ 33425839 h 16364"/>
                  <a:gd name="T18" fmla="*/ 11807142 w 15756"/>
                  <a:gd name="T19" fmla="*/ 34721787 h 16364"/>
                  <a:gd name="T20" fmla="*/ 10594880 w 15756"/>
                  <a:gd name="T21" fmla="*/ 35610946 h 16364"/>
                  <a:gd name="T22" fmla="*/ 9118019 w 15756"/>
                  <a:gd name="T23" fmla="*/ 36160028 h 16364"/>
                  <a:gd name="T24" fmla="*/ 7376608 w 15756"/>
                  <a:gd name="T25" fmla="*/ 36373418 h 16364"/>
                  <a:gd name="T26" fmla="*/ 5825246 w 15756"/>
                  <a:gd name="T27" fmla="*/ 36322263 h 16364"/>
                  <a:gd name="T28" fmla="*/ 4903176 w 15756"/>
                  <a:gd name="T29" fmla="*/ 36148901 h 16364"/>
                  <a:gd name="T30" fmla="*/ 4592407 w 15756"/>
                  <a:gd name="T31" fmla="*/ 35995529 h 16364"/>
                  <a:gd name="T32" fmla="*/ 4245656 w 15756"/>
                  <a:gd name="T33" fmla="*/ 35710993 h 16364"/>
                  <a:gd name="T34" fmla="*/ 3624067 w 15756"/>
                  <a:gd name="T35" fmla="*/ 34890718 h 16364"/>
                  <a:gd name="T36" fmla="*/ 2925445 w 15756"/>
                  <a:gd name="T37" fmla="*/ 33623671 h 16364"/>
                  <a:gd name="T38" fmla="*/ 2267924 w 15756"/>
                  <a:gd name="T39" fmla="*/ 32243233 h 16364"/>
                  <a:gd name="T40" fmla="*/ 1451167 w 15756"/>
                  <a:gd name="T41" fmla="*/ 30198202 h 16364"/>
                  <a:gd name="T42" fmla="*/ 493166 w 15756"/>
                  <a:gd name="T43" fmla="*/ 27192820 h 16364"/>
                  <a:gd name="T44" fmla="*/ 82203 w 15756"/>
                  <a:gd name="T45" fmla="*/ 25376691 h 16364"/>
                  <a:gd name="T46" fmla="*/ 0 w 15756"/>
                  <a:gd name="T47" fmla="*/ 24569799 h 16364"/>
                  <a:gd name="T48" fmla="*/ 53923 w 15756"/>
                  <a:gd name="T49" fmla="*/ 23925149 h 16364"/>
                  <a:gd name="T50" fmla="*/ 241439 w 15756"/>
                  <a:gd name="T51" fmla="*/ 23427222 h 16364"/>
                  <a:gd name="T52" fmla="*/ 626707 w 15756"/>
                  <a:gd name="T53" fmla="*/ 22998178 h 16364"/>
                  <a:gd name="T54" fmla="*/ 1294516 w 15756"/>
                  <a:gd name="T55" fmla="*/ 22513594 h 16364"/>
                  <a:gd name="T56" fmla="*/ 2388644 w 15756"/>
                  <a:gd name="T57" fmla="*/ 21926747 h 16364"/>
                  <a:gd name="T58" fmla="*/ 3639474 w 15756"/>
                  <a:gd name="T59" fmla="*/ 21437731 h 16364"/>
                  <a:gd name="T60" fmla="*/ 4890304 w 15756"/>
                  <a:gd name="T61" fmla="*/ 21102039 h 16364"/>
                  <a:gd name="T62" fmla="*/ 5945965 w 15756"/>
                  <a:gd name="T63" fmla="*/ 20973138 h 16364"/>
                  <a:gd name="T64" fmla="*/ 6415970 w 15756"/>
                  <a:gd name="T65" fmla="*/ 21093176 h 16364"/>
                  <a:gd name="T66" fmla="*/ 6857748 w 15756"/>
                  <a:gd name="T67" fmla="*/ 21533299 h 16364"/>
                  <a:gd name="T68" fmla="*/ 7343210 w 15756"/>
                  <a:gd name="T69" fmla="*/ 22295772 h 16364"/>
                  <a:gd name="T70" fmla="*/ 7869723 w 15756"/>
                  <a:gd name="T71" fmla="*/ 23378283 h 16364"/>
                  <a:gd name="T72" fmla="*/ 8082933 w 15756"/>
                  <a:gd name="T73" fmla="*/ 23885120 h 16364"/>
                  <a:gd name="T74" fmla="*/ 8427100 w 15756"/>
                  <a:gd name="T75" fmla="*/ 24692053 h 16364"/>
                  <a:gd name="T76" fmla="*/ 8897105 w 15756"/>
                  <a:gd name="T77" fmla="*/ 25659011 h 16364"/>
                  <a:gd name="T78" fmla="*/ 9326059 w 15756"/>
                  <a:gd name="T79" fmla="*/ 26317004 h 16364"/>
                  <a:gd name="T80" fmla="*/ 9716446 w 15756"/>
                  <a:gd name="T81" fmla="*/ 26665991 h 16364"/>
                  <a:gd name="T82" fmla="*/ 10073435 w 15756"/>
                  <a:gd name="T83" fmla="*/ 26677118 h 16364"/>
                  <a:gd name="T84" fmla="*/ 10738710 w 15756"/>
                  <a:gd name="T85" fmla="*/ 26063585 h 16364"/>
                  <a:gd name="T86" fmla="*/ 11835422 w 15756"/>
                  <a:gd name="T87" fmla="*/ 24752078 h 16364"/>
                  <a:gd name="T88" fmla="*/ 14046841 w 15756"/>
                  <a:gd name="T89" fmla="*/ 21804493 h 16364"/>
                  <a:gd name="T90" fmla="*/ 18081869 w 15756"/>
                  <a:gd name="T91" fmla="*/ 16358369 h 16364"/>
                  <a:gd name="T92" fmla="*/ 22188813 w 15756"/>
                  <a:gd name="T93" fmla="*/ 11225680 h 16364"/>
                  <a:gd name="T94" fmla="*/ 25114307 w 15756"/>
                  <a:gd name="T95" fmla="*/ 7822418 h 16364"/>
                  <a:gd name="T96" fmla="*/ 27592863 w 15756"/>
                  <a:gd name="T97" fmla="*/ 5159373 h 16364"/>
                  <a:gd name="T98" fmla="*/ 29642457 w 15756"/>
                  <a:gd name="T99" fmla="*/ 3174314 h 16364"/>
                  <a:gd name="T100" fmla="*/ 30685246 w 15756"/>
                  <a:gd name="T101" fmla="*/ 2322920 h 16364"/>
                  <a:gd name="T102" fmla="*/ 31376165 w 15756"/>
                  <a:gd name="T103" fmla="*/ 1907266 h 16364"/>
                  <a:gd name="T104" fmla="*/ 33130448 w 15756"/>
                  <a:gd name="T105" fmla="*/ 1240362 h 16364"/>
                  <a:gd name="T106" fmla="*/ 35316169 w 15756"/>
                  <a:gd name="T107" fmla="*/ 675768 h 16364"/>
                  <a:gd name="T108" fmla="*/ 37828116 w 15756"/>
                  <a:gd name="T109" fmla="*/ 248987 h 16364"/>
                  <a:gd name="T110" fmla="*/ 40468485 w 15756"/>
                  <a:gd name="T111" fmla="*/ 975863 h 163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756"/>
                  <a:gd name="T169" fmla="*/ 0 h 16364"/>
                  <a:gd name="T170" fmla="*/ 15756 w 15756"/>
                  <a:gd name="T171" fmla="*/ 16364 h 1636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756" h="16364">
                    <a:moveTo>
                      <a:pt x="15756" y="439"/>
                    </a:moveTo>
                    <a:lnTo>
                      <a:pt x="15557" y="659"/>
                    </a:lnTo>
                    <a:lnTo>
                      <a:pt x="15359" y="881"/>
                    </a:lnTo>
                    <a:lnTo>
                      <a:pt x="15163" y="1101"/>
                    </a:lnTo>
                    <a:lnTo>
                      <a:pt x="14967" y="1322"/>
                    </a:lnTo>
                    <a:lnTo>
                      <a:pt x="14772" y="1543"/>
                    </a:lnTo>
                    <a:lnTo>
                      <a:pt x="14579" y="1764"/>
                    </a:lnTo>
                    <a:lnTo>
                      <a:pt x="14387" y="1985"/>
                    </a:lnTo>
                    <a:lnTo>
                      <a:pt x="14196" y="2207"/>
                    </a:lnTo>
                    <a:lnTo>
                      <a:pt x="14005" y="2427"/>
                    </a:lnTo>
                    <a:lnTo>
                      <a:pt x="13816" y="2649"/>
                    </a:lnTo>
                    <a:lnTo>
                      <a:pt x="13627" y="2870"/>
                    </a:lnTo>
                    <a:lnTo>
                      <a:pt x="13440" y="3091"/>
                    </a:lnTo>
                    <a:lnTo>
                      <a:pt x="13253" y="3313"/>
                    </a:lnTo>
                    <a:lnTo>
                      <a:pt x="13069" y="3535"/>
                    </a:lnTo>
                    <a:lnTo>
                      <a:pt x="12885" y="3756"/>
                    </a:lnTo>
                    <a:lnTo>
                      <a:pt x="12701" y="3978"/>
                    </a:lnTo>
                    <a:lnTo>
                      <a:pt x="12519" y="4199"/>
                    </a:lnTo>
                    <a:lnTo>
                      <a:pt x="12338" y="4421"/>
                    </a:lnTo>
                    <a:lnTo>
                      <a:pt x="12158" y="4643"/>
                    </a:lnTo>
                    <a:lnTo>
                      <a:pt x="11979" y="4865"/>
                    </a:lnTo>
                    <a:lnTo>
                      <a:pt x="11801" y="5088"/>
                    </a:lnTo>
                    <a:lnTo>
                      <a:pt x="11624" y="5309"/>
                    </a:lnTo>
                    <a:lnTo>
                      <a:pt x="11448" y="5531"/>
                    </a:lnTo>
                    <a:lnTo>
                      <a:pt x="11273" y="5754"/>
                    </a:lnTo>
                    <a:lnTo>
                      <a:pt x="11099" y="5976"/>
                    </a:lnTo>
                    <a:lnTo>
                      <a:pt x="10927" y="6198"/>
                    </a:lnTo>
                    <a:lnTo>
                      <a:pt x="10754" y="6422"/>
                    </a:lnTo>
                    <a:lnTo>
                      <a:pt x="10583" y="6644"/>
                    </a:lnTo>
                    <a:lnTo>
                      <a:pt x="10413" y="6867"/>
                    </a:lnTo>
                    <a:lnTo>
                      <a:pt x="10244" y="7090"/>
                    </a:lnTo>
                    <a:lnTo>
                      <a:pt x="10076" y="7312"/>
                    </a:lnTo>
                    <a:lnTo>
                      <a:pt x="9911" y="7536"/>
                    </a:lnTo>
                    <a:lnTo>
                      <a:pt x="9745" y="7758"/>
                    </a:lnTo>
                    <a:lnTo>
                      <a:pt x="9580" y="7981"/>
                    </a:lnTo>
                    <a:lnTo>
                      <a:pt x="9417" y="8202"/>
                    </a:lnTo>
                    <a:lnTo>
                      <a:pt x="9255" y="8423"/>
                    </a:lnTo>
                    <a:lnTo>
                      <a:pt x="9095" y="8644"/>
                    </a:lnTo>
                    <a:lnTo>
                      <a:pt x="8936" y="8864"/>
                    </a:lnTo>
                    <a:lnTo>
                      <a:pt x="8779" y="9084"/>
                    </a:lnTo>
                    <a:lnTo>
                      <a:pt x="8623" y="9304"/>
                    </a:lnTo>
                    <a:lnTo>
                      <a:pt x="8468" y="9522"/>
                    </a:lnTo>
                    <a:lnTo>
                      <a:pt x="8316" y="9740"/>
                    </a:lnTo>
                    <a:lnTo>
                      <a:pt x="8164" y="9959"/>
                    </a:lnTo>
                    <a:lnTo>
                      <a:pt x="8015" y="10176"/>
                    </a:lnTo>
                    <a:lnTo>
                      <a:pt x="7865" y="10393"/>
                    </a:lnTo>
                    <a:lnTo>
                      <a:pt x="7719" y="10609"/>
                    </a:lnTo>
                    <a:lnTo>
                      <a:pt x="7572" y="10826"/>
                    </a:lnTo>
                    <a:lnTo>
                      <a:pt x="7428" y="11041"/>
                    </a:lnTo>
                    <a:lnTo>
                      <a:pt x="7285" y="11256"/>
                    </a:lnTo>
                    <a:lnTo>
                      <a:pt x="7144" y="11471"/>
                    </a:lnTo>
                    <a:lnTo>
                      <a:pt x="7004" y="11685"/>
                    </a:lnTo>
                    <a:lnTo>
                      <a:pt x="6865" y="11898"/>
                    </a:lnTo>
                    <a:lnTo>
                      <a:pt x="6727" y="12113"/>
                    </a:lnTo>
                    <a:lnTo>
                      <a:pt x="6592" y="12325"/>
                    </a:lnTo>
                    <a:lnTo>
                      <a:pt x="6458" y="12538"/>
                    </a:lnTo>
                    <a:lnTo>
                      <a:pt x="6325" y="12749"/>
                    </a:lnTo>
                    <a:lnTo>
                      <a:pt x="6193" y="12961"/>
                    </a:lnTo>
                    <a:lnTo>
                      <a:pt x="6063" y="13172"/>
                    </a:lnTo>
                    <a:lnTo>
                      <a:pt x="5935" y="13382"/>
                    </a:lnTo>
                    <a:lnTo>
                      <a:pt x="5808" y="13593"/>
                    </a:lnTo>
                    <a:lnTo>
                      <a:pt x="5682" y="13803"/>
                    </a:lnTo>
                    <a:lnTo>
                      <a:pt x="5558" y="14012"/>
                    </a:lnTo>
                    <a:lnTo>
                      <a:pt x="5435" y="14221"/>
                    </a:lnTo>
                    <a:lnTo>
                      <a:pt x="5313" y="14429"/>
                    </a:lnTo>
                    <a:lnTo>
                      <a:pt x="5272" y="14500"/>
                    </a:lnTo>
                    <a:lnTo>
                      <a:pt x="5229" y="14578"/>
                    </a:lnTo>
                    <a:lnTo>
                      <a:pt x="5184" y="14660"/>
                    </a:lnTo>
                    <a:lnTo>
                      <a:pt x="5136" y="14746"/>
                    </a:lnTo>
                    <a:lnTo>
                      <a:pt x="5087" y="14839"/>
                    </a:lnTo>
                    <a:lnTo>
                      <a:pt x="5034" y="14935"/>
                    </a:lnTo>
                    <a:lnTo>
                      <a:pt x="4981" y="15037"/>
                    </a:lnTo>
                    <a:lnTo>
                      <a:pt x="4926" y="15144"/>
                    </a:lnTo>
                    <a:lnTo>
                      <a:pt x="4884" y="15219"/>
                    </a:lnTo>
                    <a:lnTo>
                      <a:pt x="4840" y="15292"/>
                    </a:lnTo>
                    <a:lnTo>
                      <a:pt x="4795" y="15362"/>
                    </a:lnTo>
                    <a:lnTo>
                      <a:pt x="4748" y="15430"/>
                    </a:lnTo>
                    <a:lnTo>
                      <a:pt x="4699" y="15496"/>
                    </a:lnTo>
                    <a:lnTo>
                      <a:pt x="4649" y="15559"/>
                    </a:lnTo>
                    <a:lnTo>
                      <a:pt x="4597" y="15620"/>
                    </a:lnTo>
                    <a:lnTo>
                      <a:pt x="4544" y="15678"/>
                    </a:lnTo>
                    <a:lnTo>
                      <a:pt x="4488" y="15734"/>
                    </a:lnTo>
                    <a:lnTo>
                      <a:pt x="4432" y="15788"/>
                    </a:lnTo>
                    <a:lnTo>
                      <a:pt x="4374" y="15839"/>
                    </a:lnTo>
                    <a:lnTo>
                      <a:pt x="4314" y="15888"/>
                    </a:lnTo>
                    <a:lnTo>
                      <a:pt x="4253" y="15934"/>
                    </a:lnTo>
                    <a:lnTo>
                      <a:pt x="4189" y="15978"/>
                    </a:lnTo>
                    <a:lnTo>
                      <a:pt x="4125" y="16020"/>
                    </a:lnTo>
                    <a:lnTo>
                      <a:pt x="4058" y="16059"/>
                    </a:lnTo>
                    <a:lnTo>
                      <a:pt x="3991" y="16096"/>
                    </a:lnTo>
                    <a:lnTo>
                      <a:pt x="3921" y="16131"/>
                    </a:lnTo>
                    <a:lnTo>
                      <a:pt x="3850" y="16163"/>
                    </a:lnTo>
                    <a:lnTo>
                      <a:pt x="3778" y="16192"/>
                    </a:lnTo>
                    <a:lnTo>
                      <a:pt x="3703" y="16220"/>
                    </a:lnTo>
                    <a:lnTo>
                      <a:pt x="3627" y="16245"/>
                    </a:lnTo>
                    <a:lnTo>
                      <a:pt x="3550" y="16267"/>
                    </a:lnTo>
                    <a:lnTo>
                      <a:pt x="3471" y="16288"/>
                    </a:lnTo>
                    <a:lnTo>
                      <a:pt x="3390" y="16305"/>
                    </a:lnTo>
                    <a:lnTo>
                      <a:pt x="3308" y="16321"/>
                    </a:lnTo>
                    <a:lnTo>
                      <a:pt x="3225" y="16334"/>
                    </a:lnTo>
                    <a:lnTo>
                      <a:pt x="3139" y="16344"/>
                    </a:lnTo>
                    <a:lnTo>
                      <a:pt x="3051" y="16353"/>
                    </a:lnTo>
                    <a:lnTo>
                      <a:pt x="2962" y="16358"/>
                    </a:lnTo>
                    <a:lnTo>
                      <a:pt x="2872" y="16363"/>
                    </a:lnTo>
                    <a:lnTo>
                      <a:pt x="2781" y="16364"/>
                    </a:lnTo>
                    <a:lnTo>
                      <a:pt x="2697" y="16364"/>
                    </a:lnTo>
                    <a:lnTo>
                      <a:pt x="2616" y="16362"/>
                    </a:lnTo>
                    <a:lnTo>
                      <a:pt x="2540" y="16360"/>
                    </a:lnTo>
                    <a:lnTo>
                      <a:pt x="2467" y="16356"/>
                    </a:lnTo>
                    <a:lnTo>
                      <a:pt x="2397" y="16351"/>
                    </a:lnTo>
                    <a:lnTo>
                      <a:pt x="2330" y="16346"/>
                    </a:lnTo>
                    <a:lnTo>
                      <a:pt x="2268" y="16340"/>
                    </a:lnTo>
                    <a:lnTo>
                      <a:pt x="2209" y="16333"/>
                    </a:lnTo>
                    <a:lnTo>
                      <a:pt x="2153" y="16325"/>
                    </a:lnTo>
                    <a:lnTo>
                      <a:pt x="2101" y="16315"/>
                    </a:lnTo>
                    <a:lnTo>
                      <a:pt x="2052" y="16305"/>
                    </a:lnTo>
                    <a:lnTo>
                      <a:pt x="2007" y="16294"/>
                    </a:lnTo>
                    <a:lnTo>
                      <a:pt x="1965" y="16282"/>
                    </a:lnTo>
                    <a:lnTo>
                      <a:pt x="1927" y="16269"/>
                    </a:lnTo>
                    <a:lnTo>
                      <a:pt x="1909" y="16262"/>
                    </a:lnTo>
                    <a:lnTo>
                      <a:pt x="1892" y="16255"/>
                    </a:lnTo>
                    <a:lnTo>
                      <a:pt x="1877" y="16247"/>
                    </a:lnTo>
                    <a:lnTo>
                      <a:pt x="1861" y="16240"/>
                    </a:lnTo>
                    <a:lnTo>
                      <a:pt x="1846" y="16231"/>
                    </a:lnTo>
                    <a:lnTo>
                      <a:pt x="1832" y="16223"/>
                    </a:lnTo>
                    <a:lnTo>
                      <a:pt x="1817" y="16214"/>
                    </a:lnTo>
                    <a:lnTo>
                      <a:pt x="1802" y="16204"/>
                    </a:lnTo>
                    <a:lnTo>
                      <a:pt x="1788" y="16193"/>
                    </a:lnTo>
                    <a:lnTo>
                      <a:pt x="1772" y="16181"/>
                    </a:lnTo>
                    <a:lnTo>
                      <a:pt x="1758" y="16170"/>
                    </a:lnTo>
                    <a:lnTo>
                      <a:pt x="1743" y="16157"/>
                    </a:lnTo>
                    <a:lnTo>
                      <a:pt x="1728" y="16143"/>
                    </a:lnTo>
                    <a:lnTo>
                      <a:pt x="1713" y="16129"/>
                    </a:lnTo>
                    <a:lnTo>
                      <a:pt x="1697" y="16114"/>
                    </a:lnTo>
                    <a:lnTo>
                      <a:pt x="1683" y="16098"/>
                    </a:lnTo>
                    <a:lnTo>
                      <a:pt x="1653" y="16065"/>
                    </a:lnTo>
                    <a:lnTo>
                      <a:pt x="1623" y="16028"/>
                    </a:lnTo>
                    <a:lnTo>
                      <a:pt x="1593" y="15990"/>
                    </a:lnTo>
                    <a:lnTo>
                      <a:pt x="1562" y="15948"/>
                    </a:lnTo>
                    <a:lnTo>
                      <a:pt x="1533" y="15903"/>
                    </a:lnTo>
                    <a:lnTo>
                      <a:pt x="1502" y="15855"/>
                    </a:lnTo>
                    <a:lnTo>
                      <a:pt x="1471" y="15805"/>
                    </a:lnTo>
                    <a:lnTo>
                      <a:pt x="1441" y="15752"/>
                    </a:lnTo>
                    <a:lnTo>
                      <a:pt x="1411" y="15696"/>
                    </a:lnTo>
                    <a:lnTo>
                      <a:pt x="1380" y="15637"/>
                    </a:lnTo>
                    <a:lnTo>
                      <a:pt x="1344" y="15566"/>
                    </a:lnTo>
                    <a:lnTo>
                      <a:pt x="1309" y="15495"/>
                    </a:lnTo>
                    <a:lnTo>
                      <a:pt x="1274" y="15422"/>
                    </a:lnTo>
                    <a:lnTo>
                      <a:pt x="1240" y="15349"/>
                    </a:lnTo>
                    <a:lnTo>
                      <a:pt x="1206" y="15275"/>
                    </a:lnTo>
                    <a:lnTo>
                      <a:pt x="1172" y="15200"/>
                    </a:lnTo>
                    <a:lnTo>
                      <a:pt x="1139" y="15126"/>
                    </a:lnTo>
                    <a:lnTo>
                      <a:pt x="1105" y="15051"/>
                    </a:lnTo>
                    <a:lnTo>
                      <a:pt x="1073" y="14974"/>
                    </a:lnTo>
                    <a:lnTo>
                      <a:pt x="1041" y="14898"/>
                    </a:lnTo>
                    <a:lnTo>
                      <a:pt x="1008" y="14820"/>
                    </a:lnTo>
                    <a:lnTo>
                      <a:pt x="976" y="14742"/>
                    </a:lnTo>
                    <a:lnTo>
                      <a:pt x="946" y="14663"/>
                    </a:lnTo>
                    <a:lnTo>
                      <a:pt x="914" y="14585"/>
                    </a:lnTo>
                    <a:lnTo>
                      <a:pt x="883" y="14505"/>
                    </a:lnTo>
                    <a:lnTo>
                      <a:pt x="853" y="14424"/>
                    </a:lnTo>
                    <a:lnTo>
                      <a:pt x="823" y="14343"/>
                    </a:lnTo>
                    <a:lnTo>
                      <a:pt x="793" y="14262"/>
                    </a:lnTo>
                    <a:lnTo>
                      <a:pt x="763" y="14179"/>
                    </a:lnTo>
                    <a:lnTo>
                      <a:pt x="734" y="14096"/>
                    </a:lnTo>
                    <a:lnTo>
                      <a:pt x="676" y="13929"/>
                    </a:lnTo>
                    <a:lnTo>
                      <a:pt x="620" y="13759"/>
                    </a:lnTo>
                    <a:lnTo>
                      <a:pt x="565" y="13585"/>
                    </a:lnTo>
                    <a:lnTo>
                      <a:pt x="510" y="13410"/>
                    </a:lnTo>
                    <a:lnTo>
                      <a:pt x="457" y="13233"/>
                    </a:lnTo>
                    <a:lnTo>
                      <a:pt x="405" y="13052"/>
                    </a:lnTo>
                    <a:lnTo>
                      <a:pt x="356" y="12875"/>
                    </a:lnTo>
                    <a:lnTo>
                      <a:pt x="311" y="12704"/>
                    </a:lnTo>
                    <a:lnTo>
                      <a:pt x="268" y="12540"/>
                    </a:lnTo>
                    <a:lnTo>
                      <a:pt x="228" y="12383"/>
                    </a:lnTo>
                    <a:lnTo>
                      <a:pt x="192" y="12233"/>
                    </a:lnTo>
                    <a:lnTo>
                      <a:pt x="158" y="12088"/>
                    </a:lnTo>
                    <a:lnTo>
                      <a:pt x="128" y="11951"/>
                    </a:lnTo>
                    <a:lnTo>
                      <a:pt x="102" y="11821"/>
                    </a:lnTo>
                    <a:lnTo>
                      <a:pt x="78" y="11697"/>
                    </a:lnTo>
                    <a:lnTo>
                      <a:pt x="58" y="11579"/>
                    </a:lnTo>
                    <a:lnTo>
                      <a:pt x="49" y="11522"/>
                    </a:lnTo>
                    <a:lnTo>
                      <a:pt x="40" y="11468"/>
                    </a:lnTo>
                    <a:lnTo>
                      <a:pt x="32" y="11416"/>
                    </a:lnTo>
                    <a:lnTo>
                      <a:pt x="26" y="11365"/>
                    </a:lnTo>
                    <a:lnTo>
                      <a:pt x="20" y="11314"/>
                    </a:lnTo>
                    <a:lnTo>
                      <a:pt x="15" y="11267"/>
                    </a:lnTo>
                    <a:lnTo>
                      <a:pt x="11" y="11221"/>
                    </a:lnTo>
                    <a:lnTo>
                      <a:pt x="7" y="11176"/>
                    </a:lnTo>
                    <a:lnTo>
                      <a:pt x="3" y="11134"/>
                    </a:lnTo>
                    <a:lnTo>
                      <a:pt x="2" y="11092"/>
                    </a:lnTo>
                    <a:lnTo>
                      <a:pt x="0" y="11053"/>
                    </a:lnTo>
                    <a:lnTo>
                      <a:pt x="0" y="11015"/>
                    </a:lnTo>
                    <a:lnTo>
                      <a:pt x="0" y="10976"/>
                    </a:lnTo>
                    <a:lnTo>
                      <a:pt x="2" y="10938"/>
                    </a:lnTo>
                    <a:lnTo>
                      <a:pt x="4" y="10900"/>
                    </a:lnTo>
                    <a:lnTo>
                      <a:pt x="8" y="10864"/>
                    </a:lnTo>
                    <a:lnTo>
                      <a:pt x="11" y="10830"/>
                    </a:lnTo>
                    <a:lnTo>
                      <a:pt x="16" y="10796"/>
                    </a:lnTo>
                    <a:lnTo>
                      <a:pt x="21" y="10763"/>
                    </a:lnTo>
                    <a:lnTo>
                      <a:pt x="27" y="10731"/>
                    </a:lnTo>
                    <a:lnTo>
                      <a:pt x="34" y="10700"/>
                    </a:lnTo>
                    <a:lnTo>
                      <a:pt x="42" y="10671"/>
                    </a:lnTo>
                    <a:lnTo>
                      <a:pt x="51" y="10642"/>
                    </a:lnTo>
                    <a:lnTo>
                      <a:pt x="61" y="10614"/>
                    </a:lnTo>
                    <a:lnTo>
                      <a:pt x="71" y="10588"/>
                    </a:lnTo>
                    <a:lnTo>
                      <a:pt x="81" y="10562"/>
                    </a:lnTo>
                    <a:lnTo>
                      <a:pt x="94" y="10539"/>
                    </a:lnTo>
                    <a:lnTo>
                      <a:pt x="106" y="10515"/>
                    </a:lnTo>
                    <a:lnTo>
                      <a:pt x="120" y="10492"/>
                    </a:lnTo>
                    <a:lnTo>
                      <a:pt x="137" y="10469"/>
                    </a:lnTo>
                    <a:lnTo>
                      <a:pt x="155" y="10445"/>
                    </a:lnTo>
                    <a:lnTo>
                      <a:pt x="175" y="10421"/>
                    </a:lnTo>
                    <a:lnTo>
                      <a:pt x="196" y="10397"/>
                    </a:lnTo>
                    <a:lnTo>
                      <a:pt x="219" y="10372"/>
                    </a:lnTo>
                    <a:lnTo>
                      <a:pt x="244" y="10346"/>
                    </a:lnTo>
                    <a:lnTo>
                      <a:pt x="271" y="10320"/>
                    </a:lnTo>
                    <a:lnTo>
                      <a:pt x="298" y="10295"/>
                    </a:lnTo>
                    <a:lnTo>
                      <a:pt x="328" y="10268"/>
                    </a:lnTo>
                    <a:lnTo>
                      <a:pt x="360" y="10240"/>
                    </a:lnTo>
                    <a:lnTo>
                      <a:pt x="394" y="10213"/>
                    </a:lnTo>
                    <a:lnTo>
                      <a:pt x="429" y="10185"/>
                    </a:lnTo>
                    <a:lnTo>
                      <a:pt x="465" y="10156"/>
                    </a:lnTo>
                    <a:lnTo>
                      <a:pt x="504" y="10128"/>
                    </a:lnTo>
                    <a:lnTo>
                      <a:pt x="544" y="10099"/>
                    </a:lnTo>
                    <a:lnTo>
                      <a:pt x="596" y="10063"/>
                    </a:lnTo>
                    <a:lnTo>
                      <a:pt x="651" y="10028"/>
                    </a:lnTo>
                    <a:lnTo>
                      <a:pt x="705" y="9993"/>
                    </a:lnTo>
                    <a:lnTo>
                      <a:pt x="760" y="9960"/>
                    </a:lnTo>
                    <a:lnTo>
                      <a:pt x="816" y="9927"/>
                    </a:lnTo>
                    <a:lnTo>
                      <a:pt x="873" y="9895"/>
                    </a:lnTo>
                    <a:lnTo>
                      <a:pt x="930" y="9864"/>
                    </a:lnTo>
                    <a:lnTo>
                      <a:pt x="989" y="9833"/>
                    </a:lnTo>
                    <a:lnTo>
                      <a:pt x="1047" y="9804"/>
                    </a:lnTo>
                    <a:lnTo>
                      <a:pt x="1107" y="9775"/>
                    </a:lnTo>
                    <a:lnTo>
                      <a:pt x="1167" y="9747"/>
                    </a:lnTo>
                    <a:lnTo>
                      <a:pt x="1228" y="9721"/>
                    </a:lnTo>
                    <a:lnTo>
                      <a:pt x="1291" y="9694"/>
                    </a:lnTo>
                    <a:lnTo>
                      <a:pt x="1353" y="9669"/>
                    </a:lnTo>
                    <a:lnTo>
                      <a:pt x="1417" y="9644"/>
                    </a:lnTo>
                    <a:lnTo>
                      <a:pt x="1481" y="9620"/>
                    </a:lnTo>
                    <a:lnTo>
                      <a:pt x="1546" y="9598"/>
                    </a:lnTo>
                    <a:lnTo>
                      <a:pt x="1608" y="9577"/>
                    </a:lnTo>
                    <a:lnTo>
                      <a:pt x="1670" y="9557"/>
                    </a:lnTo>
                    <a:lnTo>
                      <a:pt x="1730" y="9539"/>
                    </a:lnTo>
                    <a:lnTo>
                      <a:pt x="1789" y="9522"/>
                    </a:lnTo>
                    <a:lnTo>
                      <a:pt x="1847" y="9507"/>
                    </a:lnTo>
                    <a:lnTo>
                      <a:pt x="1904" y="9493"/>
                    </a:lnTo>
                    <a:lnTo>
                      <a:pt x="1960" y="9481"/>
                    </a:lnTo>
                    <a:lnTo>
                      <a:pt x="2014" y="9470"/>
                    </a:lnTo>
                    <a:lnTo>
                      <a:pt x="2067" y="9460"/>
                    </a:lnTo>
                    <a:lnTo>
                      <a:pt x="2119" y="9452"/>
                    </a:lnTo>
                    <a:lnTo>
                      <a:pt x="2171" y="9446"/>
                    </a:lnTo>
                    <a:lnTo>
                      <a:pt x="2220" y="9441"/>
                    </a:lnTo>
                    <a:lnTo>
                      <a:pt x="2268" y="9437"/>
                    </a:lnTo>
                    <a:lnTo>
                      <a:pt x="2315" y="9435"/>
                    </a:lnTo>
                    <a:lnTo>
                      <a:pt x="2361" y="9434"/>
                    </a:lnTo>
                    <a:lnTo>
                      <a:pt x="2380" y="9436"/>
                    </a:lnTo>
                    <a:lnTo>
                      <a:pt x="2399" y="9439"/>
                    </a:lnTo>
                    <a:lnTo>
                      <a:pt x="2419" y="9444"/>
                    </a:lnTo>
                    <a:lnTo>
                      <a:pt x="2438" y="9452"/>
                    </a:lnTo>
                    <a:lnTo>
                      <a:pt x="2458" y="9463"/>
                    </a:lnTo>
                    <a:lnTo>
                      <a:pt x="2478" y="9475"/>
                    </a:lnTo>
                    <a:lnTo>
                      <a:pt x="2498" y="9489"/>
                    </a:lnTo>
                    <a:lnTo>
                      <a:pt x="2519" y="9507"/>
                    </a:lnTo>
                    <a:lnTo>
                      <a:pt x="2540" y="9525"/>
                    </a:lnTo>
                    <a:lnTo>
                      <a:pt x="2561" y="9547"/>
                    </a:lnTo>
                    <a:lnTo>
                      <a:pt x="2582" y="9570"/>
                    </a:lnTo>
                    <a:lnTo>
                      <a:pt x="2604" y="9597"/>
                    </a:lnTo>
                    <a:lnTo>
                      <a:pt x="2626" y="9624"/>
                    </a:lnTo>
                    <a:lnTo>
                      <a:pt x="2648" y="9655"/>
                    </a:lnTo>
                    <a:lnTo>
                      <a:pt x="2670" y="9687"/>
                    </a:lnTo>
                    <a:lnTo>
                      <a:pt x="2693" y="9722"/>
                    </a:lnTo>
                    <a:lnTo>
                      <a:pt x="2716" y="9760"/>
                    </a:lnTo>
                    <a:lnTo>
                      <a:pt x="2739" y="9799"/>
                    </a:lnTo>
                    <a:lnTo>
                      <a:pt x="2763" y="9841"/>
                    </a:lnTo>
                    <a:lnTo>
                      <a:pt x="2786" y="9885"/>
                    </a:lnTo>
                    <a:lnTo>
                      <a:pt x="2810" y="9931"/>
                    </a:lnTo>
                    <a:lnTo>
                      <a:pt x="2834" y="9979"/>
                    </a:lnTo>
                    <a:lnTo>
                      <a:pt x="2859" y="10030"/>
                    </a:lnTo>
                    <a:lnTo>
                      <a:pt x="2883" y="10083"/>
                    </a:lnTo>
                    <a:lnTo>
                      <a:pt x="2908" y="10138"/>
                    </a:lnTo>
                    <a:lnTo>
                      <a:pt x="2934" y="10195"/>
                    </a:lnTo>
                    <a:lnTo>
                      <a:pt x="2959" y="10256"/>
                    </a:lnTo>
                    <a:lnTo>
                      <a:pt x="2985" y="10317"/>
                    </a:lnTo>
                    <a:lnTo>
                      <a:pt x="3010" y="10382"/>
                    </a:lnTo>
                    <a:lnTo>
                      <a:pt x="3037" y="10448"/>
                    </a:lnTo>
                    <a:lnTo>
                      <a:pt x="3064" y="10517"/>
                    </a:lnTo>
                    <a:lnTo>
                      <a:pt x="3090" y="10588"/>
                    </a:lnTo>
                    <a:lnTo>
                      <a:pt x="3101" y="10616"/>
                    </a:lnTo>
                    <a:lnTo>
                      <a:pt x="3109" y="10643"/>
                    </a:lnTo>
                    <a:lnTo>
                      <a:pt x="3118" y="10668"/>
                    </a:lnTo>
                    <a:lnTo>
                      <a:pt x="3126" y="10690"/>
                    </a:lnTo>
                    <a:lnTo>
                      <a:pt x="3133" y="10711"/>
                    </a:lnTo>
                    <a:lnTo>
                      <a:pt x="3141" y="10728"/>
                    </a:lnTo>
                    <a:lnTo>
                      <a:pt x="3147" y="10745"/>
                    </a:lnTo>
                    <a:lnTo>
                      <a:pt x="3153" y="10760"/>
                    </a:lnTo>
                    <a:lnTo>
                      <a:pt x="3160" y="10786"/>
                    </a:lnTo>
                    <a:lnTo>
                      <a:pt x="3172" y="10819"/>
                    </a:lnTo>
                    <a:lnTo>
                      <a:pt x="3188" y="10860"/>
                    </a:lnTo>
                    <a:lnTo>
                      <a:pt x="3207" y="10910"/>
                    </a:lnTo>
                    <a:lnTo>
                      <a:pt x="3232" y="10978"/>
                    </a:lnTo>
                    <a:lnTo>
                      <a:pt x="3256" y="11044"/>
                    </a:lnTo>
                    <a:lnTo>
                      <a:pt x="3281" y="11108"/>
                    </a:lnTo>
                    <a:lnTo>
                      <a:pt x="3304" y="11170"/>
                    </a:lnTo>
                    <a:lnTo>
                      <a:pt x="3328" y="11229"/>
                    </a:lnTo>
                    <a:lnTo>
                      <a:pt x="3351" y="11288"/>
                    </a:lnTo>
                    <a:lnTo>
                      <a:pt x="3374" y="11343"/>
                    </a:lnTo>
                    <a:lnTo>
                      <a:pt x="3397" y="11396"/>
                    </a:lnTo>
                    <a:lnTo>
                      <a:pt x="3419" y="11448"/>
                    </a:lnTo>
                    <a:lnTo>
                      <a:pt x="3442" y="11496"/>
                    </a:lnTo>
                    <a:lnTo>
                      <a:pt x="3464" y="11543"/>
                    </a:lnTo>
                    <a:lnTo>
                      <a:pt x="3486" y="11587"/>
                    </a:lnTo>
                    <a:lnTo>
                      <a:pt x="3507" y="11630"/>
                    </a:lnTo>
                    <a:lnTo>
                      <a:pt x="3529" y="11670"/>
                    </a:lnTo>
                    <a:lnTo>
                      <a:pt x="3550" y="11708"/>
                    </a:lnTo>
                    <a:lnTo>
                      <a:pt x="3571" y="11744"/>
                    </a:lnTo>
                    <a:lnTo>
                      <a:pt x="3591" y="11778"/>
                    </a:lnTo>
                    <a:lnTo>
                      <a:pt x="3612" y="11809"/>
                    </a:lnTo>
                    <a:lnTo>
                      <a:pt x="3631" y="11839"/>
                    </a:lnTo>
                    <a:lnTo>
                      <a:pt x="3652" y="11866"/>
                    </a:lnTo>
                    <a:lnTo>
                      <a:pt x="3671" y="11891"/>
                    </a:lnTo>
                    <a:lnTo>
                      <a:pt x="3691" y="11914"/>
                    </a:lnTo>
                    <a:lnTo>
                      <a:pt x="3709" y="11934"/>
                    </a:lnTo>
                    <a:lnTo>
                      <a:pt x="3727" y="11953"/>
                    </a:lnTo>
                    <a:lnTo>
                      <a:pt x="3746" y="11969"/>
                    </a:lnTo>
                    <a:lnTo>
                      <a:pt x="3764" y="11984"/>
                    </a:lnTo>
                    <a:lnTo>
                      <a:pt x="3783" y="11996"/>
                    </a:lnTo>
                    <a:lnTo>
                      <a:pt x="3800" y="12005"/>
                    </a:lnTo>
                    <a:lnTo>
                      <a:pt x="3818" y="12013"/>
                    </a:lnTo>
                    <a:lnTo>
                      <a:pt x="3835" y="12018"/>
                    </a:lnTo>
                    <a:lnTo>
                      <a:pt x="3851" y="12021"/>
                    </a:lnTo>
                    <a:lnTo>
                      <a:pt x="3868" y="12022"/>
                    </a:lnTo>
                    <a:lnTo>
                      <a:pt x="3883" y="12020"/>
                    </a:lnTo>
                    <a:lnTo>
                      <a:pt x="3902" y="12013"/>
                    </a:lnTo>
                    <a:lnTo>
                      <a:pt x="3922" y="12001"/>
                    </a:lnTo>
                    <a:lnTo>
                      <a:pt x="3946" y="11984"/>
                    </a:lnTo>
                    <a:lnTo>
                      <a:pt x="3971" y="11961"/>
                    </a:lnTo>
                    <a:lnTo>
                      <a:pt x="4000" y="11934"/>
                    </a:lnTo>
                    <a:lnTo>
                      <a:pt x="4031" y="11903"/>
                    </a:lnTo>
                    <a:lnTo>
                      <a:pt x="4064" y="11866"/>
                    </a:lnTo>
                    <a:lnTo>
                      <a:pt x="4100" y="11824"/>
                    </a:lnTo>
                    <a:lnTo>
                      <a:pt x="4139" y="11777"/>
                    </a:lnTo>
                    <a:lnTo>
                      <a:pt x="4181" y="11725"/>
                    </a:lnTo>
                    <a:lnTo>
                      <a:pt x="4225" y="11669"/>
                    </a:lnTo>
                    <a:lnTo>
                      <a:pt x="4272" y="11607"/>
                    </a:lnTo>
                    <a:lnTo>
                      <a:pt x="4321" y="11541"/>
                    </a:lnTo>
                    <a:lnTo>
                      <a:pt x="4374" y="11469"/>
                    </a:lnTo>
                    <a:lnTo>
                      <a:pt x="4429" y="11393"/>
                    </a:lnTo>
                    <a:lnTo>
                      <a:pt x="4485" y="11312"/>
                    </a:lnTo>
                    <a:lnTo>
                      <a:pt x="4546" y="11226"/>
                    </a:lnTo>
                    <a:lnTo>
                      <a:pt x="4608" y="11135"/>
                    </a:lnTo>
                    <a:lnTo>
                      <a:pt x="4674" y="11039"/>
                    </a:lnTo>
                    <a:lnTo>
                      <a:pt x="4741" y="10938"/>
                    </a:lnTo>
                    <a:lnTo>
                      <a:pt x="4812" y="10833"/>
                    </a:lnTo>
                    <a:lnTo>
                      <a:pt x="4885" y="10721"/>
                    </a:lnTo>
                    <a:lnTo>
                      <a:pt x="4961" y="10606"/>
                    </a:lnTo>
                    <a:lnTo>
                      <a:pt x="5119" y="10360"/>
                    </a:lnTo>
                    <a:lnTo>
                      <a:pt x="5289" y="10094"/>
                    </a:lnTo>
                    <a:lnTo>
                      <a:pt x="5469" y="9809"/>
                    </a:lnTo>
                    <a:lnTo>
                      <a:pt x="5659" y="9504"/>
                    </a:lnTo>
                    <a:lnTo>
                      <a:pt x="5856" y="9190"/>
                    </a:lnTo>
                    <a:lnTo>
                      <a:pt x="6051" y="8878"/>
                    </a:lnTo>
                    <a:lnTo>
                      <a:pt x="6248" y="8570"/>
                    </a:lnTo>
                    <a:lnTo>
                      <a:pt x="6446" y="8263"/>
                    </a:lnTo>
                    <a:lnTo>
                      <a:pt x="6643" y="7959"/>
                    </a:lnTo>
                    <a:lnTo>
                      <a:pt x="6841" y="7658"/>
                    </a:lnTo>
                    <a:lnTo>
                      <a:pt x="7040" y="7359"/>
                    </a:lnTo>
                    <a:lnTo>
                      <a:pt x="7238" y="7061"/>
                    </a:lnTo>
                    <a:lnTo>
                      <a:pt x="7437" y="6767"/>
                    </a:lnTo>
                    <a:lnTo>
                      <a:pt x="7637" y="6475"/>
                    </a:lnTo>
                    <a:lnTo>
                      <a:pt x="7837" y="6185"/>
                    </a:lnTo>
                    <a:lnTo>
                      <a:pt x="8036" y="5897"/>
                    </a:lnTo>
                    <a:lnTo>
                      <a:pt x="8237" y="5612"/>
                    </a:lnTo>
                    <a:lnTo>
                      <a:pt x="8438" y="5330"/>
                    </a:lnTo>
                    <a:lnTo>
                      <a:pt x="8639" y="5050"/>
                    </a:lnTo>
                    <a:lnTo>
                      <a:pt x="8841" y="4772"/>
                    </a:lnTo>
                    <a:lnTo>
                      <a:pt x="8981" y="4581"/>
                    </a:lnTo>
                    <a:lnTo>
                      <a:pt x="9118" y="4394"/>
                    </a:lnTo>
                    <a:lnTo>
                      <a:pt x="9254" y="4211"/>
                    </a:lnTo>
                    <a:lnTo>
                      <a:pt x="9388" y="4032"/>
                    </a:lnTo>
                    <a:lnTo>
                      <a:pt x="9520" y="3857"/>
                    </a:lnTo>
                    <a:lnTo>
                      <a:pt x="9650" y="3686"/>
                    </a:lnTo>
                    <a:lnTo>
                      <a:pt x="9778" y="3519"/>
                    </a:lnTo>
                    <a:lnTo>
                      <a:pt x="9905" y="3356"/>
                    </a:lnTo>
                    <a:lnTo>
                      <a:pt x="10030" y="3196"/>
                    </a:lnTo>
                    <a:lnTo>
                      <a:pt x="10153" y="3040"/>
                    </a:lnTo>
                    <a:lnTo>
                      <a:pt x="10275" y="2888"/>
                    </a:lnTo>
                    <a:lnTo>
                      <a:pt x="10395" y="2741"/>
                    </a:lnTo>
                    <a:lnTo>
                      <a:pt x="10513" y="2596"/>
                    </a:lnTo>
                    <a:lnTo>
                      <a:pt x="10628" y="2457"/>
                    </a:lnTo>
                    <a:lnTo>
                      <a:pt x="10743" y="2321"/>
                    </a:lnTo>
                    <a:lnTo>
                      <a:pt x="10855" y="2187"/>
                    </a:lnTo>
                    <a:lnTo>
                      <a:pt x="10964" y="2060"/>
                    </a:lnTo>
                    <a:lnTo>
                      <a:pt x="11071" y="1939"/>
                    </a:lnTo>
                    <a:lnTo>
                      <a:pt x="11172" y="1825"/>
                    </a:lnTo>
                    <a:lnTo>
                      <a:pt x="11271" y="1717"/>
                    </a:lnTo>
                    <a:lnTo>
                      <a:pt x="11365" y="1615"/>
                    </a:lnTo>
                    <a:lnTo>
                      <a:pt x="11455" y="1518"/>
                    </a:lnTo>
                    <a:lnTo>
                      <a:pt x="11541" y="1428"/>
                    </a:lnTo>
                    <a:lnTo>
                      <a:pt x="11624" y="1345"/>
                    </a:lnTo>
                    <a:lnTo>
                      <a:pt x="11702" y="1267"/>
                    </a:lnTo>
                    <a:lnTo>
                      <a:pt x="11777" y="1195"/>
                    </a:lnTo>
                    <a:lnTo>
                      <a:pt x="11812" y="1163"/>
                    </a:lnTo>
                    <a:lnTo>
                      <a:pt x="11847" y="1131"/>
                    </a:lnTo>
                    <a:lnTo>
                      <a:pt x="11882" y="1101"/>
                    </a:lnTo>
                    <a:lnTo>
                      <a:pt x="11915" y="1072"/>
                    </a:lnTo>
                    <a:lnTo>
                      <a:pt x="11947" y="1045"/>
                    </a:lnTo>
                    <a:lnTo>
                      <a:pt x="11977" y="1019"/>
                    </a:lnTo>
                    <a:lnTo>
                      <a:pt x="12008" y="996"/>
                    </a:lnTo>
                    <a:lnTo>
                      <a:pt x="12037" y="973"/>
                    </a:lnTo>
                    <a:lnTo>
                      <a:pt x="12064" y="952"/>
                    </a:lnTo>
                    <a:lnTo>
                      <a:pt x="12092" y="933"/>
                    </a:lnTo>
                    <a:lnTo>
                      <a:pt x="12118" y="915"/>
                    </a:lnTo>
                    <a:lnTo>
                      <a:pt x="12143" y="899"/>
                    </a:lnTo>
                    <a:lnTo>
                      <a:pt x="12216" y="858"/>
                    </a:lnTo>
                    <a:lnTo>
                      <a:pt x="12292" y="818"/>
                    </a:lnTo>
                    <a:lnTo>
                      <a:pt x="12371" y="778"/>
                    </a:lnTo>
                    <a:lnTo>
                      <a:pt x="12453" y="740"/>
                    </a:lnTo>
                    <a:lnTo>
                      <a:pt x="12537" y="702"/>
                    </a:lnTo>
                    <a:lnTo>
                      <a:pt x="12623" y="665"/>
                    </a:lnTo>
                    <a:lnTo>
                      <a:pt x="12713" y="629"/>
                    </a:lnTo>
                    <a:lnTo>
                      <a:pt x="12805" y="593"/>
                    </a:lnTo>
                    <a:lnTo>
                      <a:pt x="12899" y="558"/>
                    </a:lnTo>
                    <a:lnTo>
                      <a:pt x="12996" y="523"/>
                    </a:lnTo>
                    <a:lnTo>
                      <a:pt x="13097" y="489"/>
                    </a:lnTo>
                    <a:lnTo>
                      <a:pt x="13199" y="456"/>
                    </a:lnTo>
                    <a:lnTo>
                      <a:pt x="13305" y="425"/>
                    </a:lnTo>
                    <a:lnTo>
                      <a:pt x="13412" y="393"/>
                    </a:lnTo>
                    <a:lnTo>
                      <a:pt x="13523" y="362"/>
                    </a:lnTo>
                    <a:lnTo>
                      <a:pt x="13636" y="332"/>
                    </a:lnTo>
                    <a:lnTo>
                      <a:pt x="13750" y="304"/>
                    </a:lnTo>
                    <a:lnTo>
                      <a:pt x="13866" y="276"/>
                    </a:lnTo>
                    <a:lnTo>
                      <a:pt x="13984" y="249"/>
                    </a:lnTo>
                    <a:lnTo>
                      <a:pt x="14104" y="224"/>
                    </a:lnTo>
                    <a:lnTo>
                      <a:pt x="14225" y="199"/>
                    </a:lnTo>
                    <a:lnTo>
                      <a:pt x="14348" y="176"/>
                    </a:lnTo>
                    <a:lnTo>
                      <a:pt x="14473" y="154"/>
                    </a:lnTo>
                    <a:lnTo>
                      <a:pt x="14600" y="133"/>
                    </a:lnTo>
                    <a:lnTo>
                      <a:pt x="14728" y="112"/>
                    </a:lnTo>
                    <a:lnTo>
                      <a:pt x="14858" y="94"/>
                    </a:lnTo>
                    <a:lnTo>
                      <a:pt x="14989" y="75"/>
                    </a:lnTo>
                    <a:lnTo>
                      <a:pt x="15123" y="58"/>
                    </a:lnTo>
                    <a:lnTo>
                      <a:pt x="15258" y="42"/>
                    </a:lnTo>
                    <a:lnTo>
                      <a:pt x="15394" y="27"/>
                    </a:lnTo>
                    <a:lnTo>
                      <a:pt x="15532" y="14"/>
                    </a:lnTo>
                    <a:lnTo>
                      <a:pt x="15672" y="0"/>
                    </a:lnTo>
                    <a:lnTo>
                      <a:pt x="15756" y="439"/>
                    </a:lnTo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76222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sor_ppt_v2">
  <a:themeElements>
    <a:clrScheme name="GGF">
      <a:dk1>
        <a:sysClr val="windowText" lastClr="000000"/>
      </a:dk1>
      <a:lt1>
        <a:srgbClr val="FFFFFF"/>
      </a:lt1>
      <a:dk2>
        <a:srgbClr val="00247D"/>
      </a:dk2>
      <a:lt2>
        <a:srgbClr val="CF142B"/>
      </a:lt2>
      <a:accent1>
        <a:srgbClr val="636363"/>
      </a:accent1>
      <a:accent2>
        <a:srgbClr val="00B5E2"/>
      </a:accent2>
      <a:accent3>
        <a:srgbClr val="8FAD15"/>
      </a:accent3>
      <a:accent4>
        <a:srgbClr val="FFD100"/>
      </a:accent4>
      <a:accent5>
        <a:srgbClr val="653165"/>
      </a:accent5>
      <a:accent6>
        <a:srgbClr val="005F83"/>
      </a:accent6>
      <a:hlink>
        <a:srgbClr val="115740"/>
      </a:hlink>
      <a:folHlink>
        <a:srgbClr val="005F83"/>
      </a:folHlink>
    </a:clrScheme>
    <a:fontScheme name="GGF">
      <a:majorFont>
        <a:latin typeface="DejaVu Serif"/>
        <a:ea typeface=""/>
        <a:cs typeface=""/>
      </a:majorFont>
      <a:minorFont>
        <a:latin typeface="DejaVu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xtLst>
          <a:ext uri="{91240B29-F687-4f45-9708-019B960494DF}">
            <a14:hiddenLine xmlns="" xmlns:a14="http://schemas.microsoft.com/office/drawing/2010/main" w="25400" cap="flat">
              <a:solidFill>
                <a:srgbClr val="000000"/>
              </a:solidFill>
              <a:round/>
              <a:headEnd type="none" w="med" len="med"/>
              <a:tailEnd type="none" w="med" len="med"/>
            </a14:hiddenLine>
          </a:ext>
        </a:extLst>
      </a:spPr>
      <a:bodyPr lIns="0" tIns="0" rIns="0" bIns="0"/>
      <a:lstStyle>
        <a:defPPr>
          <a:defRPr/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4A186FC486B24DABEBDB1A85609D30" ma:contentTypeVersion="1" ma:contentTypeDescription="Create a new document." ma:contentTypeScope="" ma:versionID="b0dee3aae0f1f022caa8157932af4a5d">
  <xsd:schema xmlns:xsd="http://www.w3.org/2001/XMLSchema" xmlns:xs="http://www.w3.org/2001/XMLSchema" xmlns:p="http://schemas.microsoft.com/office/2006/metadata/properties" xmlns:ns2="63d00fd1-5f4e-4885-841f-3fa200713f36" targetNamespace="http://schemas.microsoft.com/office/2006/metadata/properties" ma:root="true" ma:fieldsID="4ddb9b39bdbd5046fa9f1213f3ee6c59" ns2:_="">
    <xsd:import namespace="63d00fd1-5f4e-4885-841f-3fa200713f36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d00fd1-5f4e-4885-841f-3fa200713f3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34D3978-E0E4-40FA-86CA-B78350F154A8}">
  <ds:schemaRefs>
    <ds:schemaRef ds:uri="http://purl.org/dc/elements/1.1/"/>
    <ds:schemaRef ds:uri="63d00fd1-5f4e-4885-841f-3fa200713f36"/>
    <ds:schemaRef ds:uri="http://schemas.microsoft.com/office/2006/documentManagement/types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6C61641-76AA-4441-9A7D-29983D42E3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d00fd1-5f4e-4885-841f-3fa200713f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609D6BA-B10B-41E9-8938-19E938E8FD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GF_20160120</Template>
  <TotalTime>8583</TotalTime>
  <Words>66</Words>
  <Application>Microsoft Office PowerPoint</Application>
  <PresentationFormat>A4 Paper (210x297 mm)</PresentationFormat>
  <Paragraphs>4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DejaVu Sans</vt:lpstr>
      <vt:lpstr>DejaVu Serif</vt:lpstr>
      <vt:lpstr>Georgia</vt:lpstr>
      <vt:lpstr>Helvetica</vt:lpstr>
      <vt:lpstr>Verdana</vt:lpstr>
      <vt:lpstr>Essor_ppt_v2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to go here</dc:title>
  <dc:creator>Kyra</dc:creator>
  <cp:lastModifiedBy>Arsen Gogatadze</cp:lastModifiedBy>
  <cp:revision>484</cp:revision>
  <cp:lastPrinted>2019-09-17T07:58:03Z</cp:lastPrinted>
  <dcterms:created xsi:type="dcterms:W3CDTF">2016-01-20T08:21:11Z</dcterms:created>
  <dcterms:modified xsi:type="dcterms:W3CDTF">2019-09-17T13:4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4A186FC486B24DABEBDB1A85609D30</vt:lpwstr>
  </property>
</Properties>
</file>